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24" r:id="rId6"/>
    <p:sldMasterId id="2147484558" r:id="rId7"/>
    <p:sldMasterId id="2147484591" r:id="rId8"/>
  </p:sldMasterIdLst>
  <p:notesMasterIdLst>
    <p:notesMasterId r:id="rId24"/>
  </p:notesMasterIdLst>
  <p:sldIdLst>
    <p:sldId id="304" r:id="rId9"/>
    <p:sldId id="345" r:id="rId10"/>
    <p:sldId id="335" r:id="rId11"/>
    <p:sldId id="346" r:id="rId12"/>
    <p:sldId id="305" r:id="rId13"/>
    <p:sldId id="357" r:id="rId14"/>
    <p:sldId id="344" r:id="rId15"/>
    <p:sldId id="338" r:id="rId16"/>
    <p:sldId id="358" r:id="rId17"/>
    <p:sldId id="356" r:id="rId18"/>
    <p:sldId id="359" r:id="rId19"/>
    <p:sldId id="360" r:id="rId20"/>
    <p:sldId id="336" r:id="rId21"/>
    <p:sldId id="334" r:id="rId22"/>
    <p:sldId id="333" r:id="rId23"/>
  </p:sldIdLst>
  <p:sldSz cx="12192000" cy="6858000"/>
  <p:notesSz cx="6858000" cy="9144000"/>
  <p:custDataLst>
    <p:tags r:id="rId2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4D0D56-B06D-47F7-9784-581D4BD46BCD}" v="757" dt="2021-12-06T10:01:45.7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55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5/10/relationships/revisionInfo" Target="revisionInfo.xml"/><Relationship Id="rId30" Type="http://schemas.microsoft.com/office/2016/11/relationships/changesInfo" Target="changesInfos/changesInfo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milla Tang (CTA)" userId="4e9b8642-a180-48d0-bfd6-dc9ad090493e" providerId="ADAL" clId="{EC4D0D56-B06D-47F7-9784-581D4BD46BCD}"/>
    <pc:docChg chg="undo redo custSel addSld delSld modSld sldOrd modMainMaster">
      <pc:chgData name="Camilla Tang (CTA)" userId="4e9b8642-a180-48d0-bfd6-dc9ad090493e" providerId="ADAL" clId="{EC4D0D56-B06D-47F7-9784-581D4BD46BCD}" dt="2021-12-06T10:30:54.229" v="2014" actId="1076"/>
      <pc:docMkLst>
        <pc:docMk/>
      </pc:docMkLst>
      <pc:sldChg chg="del">
        <pc:chgData name="Camilla Tang (CTA)" userId="4e9b8642-a180-48d0-bfd6-dc9ad090493e" providerId="ADAL" clId="{EC4D0D56-B06D-47F7-9784-581D4BD46BCD}" dt="2021-12-03T13:04:24.121" v="35" actId="47"/>
        <pc:sldMkLst>
          <pc:docMk/>
          <pc:sldMk cId="698177667" sldId="303"/>
        </pc:sldMkLst>
      </pc:sldChg>
      <pc:sldChg chg="modSp mod">
        <pc:chgData name="Camilla Tang (CTA)" userId="4e9b8642-a180-48d0-bfd6-dc9ad090493e" providerId="ADAL" clId="{EC4D0D56-B06D-47F7-9784-581D4BD46BCD}" dt="2021-12-06T08:24:40.323" v="1982" actId="20577"/>
        <pc:sldMkLst>
          <pc:docMk/>
          <pc:sldMk cId="3644162105" sldId="304"/>
        </pc:sldMkLst>
        <pc:spChg chg="mod">
          <ac:chgData name="Camilla Tang (CTA)" userId="4e9b8642-a180-48d0-bfd6-dc9ad090493e" providerId="ADAL" clId="{EC4D0D56-B06D-47F7-9784-581D4BD46BCD}" dt="2021-12-06T08:24:40.323" v="1982" actId="20577"/>
          <ac:spMkLst>
            <pc:docMk/>
            <pc:sldMk cId="3644162105" sldId="304"/>
            <ac:spMk id="19" creationId="{33EA30CF-029C-443B-838F-D0880B1703BD}"/>
          </ac:spMkLst>
        </pc:spChg>
        <pc:graphicFrameChg chg="modGraphic">
          <ac:chgData name="Camilla Tang (CTA)" userId="4e9b8642-a180-48d0-bfd6-dc9ad090493e" providerId="ADAL" clId="{EC4D0D56-B06D-47F7-9784-581D4BD46BCD}" dt="2021-12-03T13:01:05.004" v="33" actId="20577"/>
          <ac:graphicFrameMkLst>
            <pc:docMk/>
            <pc:sldMk cId="3644162105" sldId="304"/>
            <ac:graphicFrameMk id="4" creationId="{1F755A64-8CAC-47AC-93DB-FDE781CDF04B}"/>
          </ac:graphicFrameMkLst>
        </pc:graphicFrameChg>
      </pc:sldChg>
      <pc:sldChg chg="addSp modSp add mod modAnim">
        <pc:chgData name="Camilla Tang (CTA)" userId="4e9b8642-a180-48d0-bfd6-dc9ad090493e" providerId="ADAL" clId="{EC4D0D56-B06D-47F7-9784-581D4BD46BCD}" dt="2021-12-06T10:30:26.851" v="2012" actId="20577"/>
        <pc:sldMkLst>
          <pc:docMk/>
          <pc:sldMk cId="716210744" sldId="305"/>
        </pc:sldMkLst>
        <pc:spChg chg="mod">
          <ac:chgData name="Camilla Tang (CTA)" userId="4e9b8642-a180-48d0-bfd6-dc9ad090493e" providerId="ADAL" clId="{EC4D0D56-B06D-47F7-9784-581D4BD46BCD}" dt="2021-12-06T10:30:26.851" v="2012" actId="20577"/>
          <ac:spMkLst>
            <pc:docMk/>
            <pc:sldMk cId="716210744" sldId="305"/>
            <ac:spMk id="3" creationId="{83D8BAEB-B0C7-4E3E-8D25-D1B17D4CD920}"/>
          </ac:spMkLst>
        </pc:spChg>
        <pc:spChg chg="add mod">
          <ac:chgData name="Camilla Tang (CTA)" userId="4e9b8642-a180-48d0-bfd6-dc9ad090493e" providerId="ADAL" clId="{EC4D0D56-B06D-47F7-9784-581D4BD46BCD}" dt="2021-12-05T09:56:28.753" v="526" actId="113"/>
          <ac:spMkLst>
            <pc:docMk/>
            <pc:sldMk cId="716210744" sldId="305"/>
            <ac:spMk id="28" creationId="{78DDC65E-7F75-4D71-B1D1-40C0AB919202}"/>
          </ac:spMkLst>
        </pc:spChg>
      </pc:sldChg>
      <pc:sldChg chg="delSp add mod">
        <pc:chgData name="Camilla Tang (CTA)" userId="4e9b8642-a180-48d0-bfd6-dc9ad090493e" providerId="ADAL" clId="{EC4D0D56-B06D-47F7-9784-581D4BD46BCD}" dt="2021-12-03T13:05:09.795" v="48" actId="478"/>
        <pc:sldMkLst>
          <pc:docMk/>
          <pc:sldMk cId="4090496489" sldId="333"/>
        </pc:sldMkLst>
        <pc:spChg chg="del">
          <ac:chgData name="Camilla Tang (CTA)" userId="4e9b8642-a180-48d0-bfd6-dc9ad090493e" providerId="ADAL" clId="{EC4D0D56-B06D-47F7-9784-581D4BD46BCD}" dt="2021-12-03T13:05:06.225" v="46" actId="478"/>
          <ac:spMkLst>
            <pc:docMk/>
            <pc:sldMk cId="4090496489" sldId="333"/>
            <ac:spMk id="5" creationId="{4E537A4C-7C19-45A8-8F19-9AAFE0BBABAD}"/>
          </ac:spMkLst>
        </pc:spChg>
        <pc:picChg chg="del">
          <ac:chgData name="Camilla Tang (CTA)" userId="4e9b8642-a180-48d0-bfd6-dc9ad090493e" providerId="ADAL" clId="{EC4D0D56-B06D-47F7-9784-581D4BD46BCD}" dt="2021-12-03T13:05:09.795" v="48" actId="478"/>
          <ac:picMkLst>
            <pc:docMk/>
            <pc:sldMk cId="4090496489" sldId="333"/>
            <ac:picMk id="19" creationId="{21312D79-1955-4687-9615-B9B9F45D6BC5}"/>
          </ac:picMkLst>
        </pc:picChg>
        <pc:picChg chg="del">
          <ac:chgData name="Camilla Tang (CTA)" userId="4e9b8642-a180-48d0-bfd6-dc9ad090493e" providerId="ADAL" clId="{EC4D0D56-B06D-47F7-9784-581D4BD46BCD}" dt="2021-12-03T13:05:09.165" v="47" actId="478"/>
          <ac:picMkLst>
            <pc:docMk/>
            <pc:sldMk cId="4090496489" sldId="333"/>
            <ac:picMk id="1026" creationId="{F9C394C4-9816-4655-969C-3AA51959AC07}"/>
          </ac:picMkLst>
        </pc:picChg>
      </pc:sldChg>
      <pc:sldChg chg="delSp modSp add mod">
        <pc:chgData name="Camilla Tang (CTA)" userId="4e9b8642-a180-48d0-bfd6-dc9ad090493e" providerId="ADAL" clId="{EC4D0D56-B06D-47F7-9784-581D4BD46BCD}" dt="2021-12-05T13:30:03.947" v="1901" actId="1076"/>
        <pc:sldMkLst>
          <pc:docMk/>
          <pc:sldMk cId="1555779064" sldId="334"/>
        </pc:sldMkLst>
        <pc:spChg chg="mod">
          <ac:chgData name="Camilla Tang (CTA)" userId="4e9b8642-a180-48d0-bfd6-dc9ad090493e" providerId="ADAL" clId="{EC4D0D56-B06D-47F7-9784-581D4BD46BCD}" dt="2021-12-05T13:30:03.947" v="1901" actId="1076"/>
          <ac:spMkLst>
            <pc:docMk/>
            <pc:sldMk cId="1555779064" sldId="334"/>
            <ac:spMk id="19" creationId="{02567915-D7DC-4A2A-B65A-9CA2A342687A}"/>
          </ac:spMkLst>
        </pc:spChg>
        <pc:spChg chg="mod">
          <ac:chgData name="Camilla Tang (CTA)" userId="4e9b8642-a180-48d0-bfd6-dc9ad090493e" providerId="ADAL" clId="{EC4D0D56-B06D-47F7-9784-581D4BD46BCD}" dt="2021-12-05T13:29:22.200" v="1720" actId="20577"/>
          <ac:spMkLst>
            <pc:docMk/>
            <pc:sldMk cId="1555779064" sldId="334"/>
            <ac:spMk id="20" creationId="{07934C3C-31CA-47DF-96EA-AB641D9F0BA8}"/>
          </ac:spMkLst>
        </pc:spChg>
        <pc:spChg chg="mod">
          <ac:chgData name="Camilla Tang (CTA)" userId="4e9b8642-a180-48d0-bfd6-dc9ad090493e" providerId="ADAL" clId="{EC4D0D56-B06D-47F7-9784-581D4BD46BCD}" dt="2021-12-05T13:14:15.606" v="1153" actId="20577"/>
          <ac:spMkLst>
            <pc:docMk/>
            <pc:sldMk cId="1555779064" sldId="334"/>
            <ac:spMk id="23" creationId="{EE283217-5968-445C-9D66-D1D174503335}"/>
          </ac:spMkLst>
        </pc:spChg>
        <pc:spChg chg="del mod">
          <ac:chgData name="Camilla Tang (CTA)" userId="4e9b8642-a180-48d0-bfd6-dc9ad090493e" providerId="ADAL" clId="{EC4D0D56-B06D-47F7-9784-581D4BD46BCD}" dt="2021-12-05T13:28:51.668" v="1565" actId="478"/>
          <ac:spMkLst>
            <pc:docMk/>
            <pc:sldMk cId="1555779064" sldId="334"/>
            <ac:spMk id="24" creationId="{04FD52B2-9E56-4A68-84D8-847BC660CEAF}"/>
          </ac:spMkLst>
        </pc:spChg>
        <pc:picChg chg="del">
          <ac:chgData name="Camilla Tang (CTA)" userId="4e9b8642-a180-48d0-bfd6-dc9ad090493e" providerId="ADAL" clId="{EC4D0D56-B06D-47F7-9784-581D4BD46BCD}" dt="2021-12-05T13:28:52.208" v="1566" actId="478"/>
          <ac:picMkLst>
            <pc:docMk/>
            <pc:sldMk cId="1555779064" sldId="334"/>
            <ac:picMk id="22" creationId="{FB3869F8-7C6D-4E1C-A0E3-9C74A69DF89F}"/>
          </ac:picMkLst>
        </pc:picChg>
      </pc:sldChg>
      <pc:sldChg chg="delSp modSp add mod delAnim">
        <pc:chgData name="Camilla Tang (CTA)" userId="4e9b8642-a180-48d0-bfd6-dc9ad090493e" providerId="ADAL" clId="{EC4D0D56-B06D-47F7-9784-581D4BD46BCD}" dt="2021-12-06T09:48:11.563" v="1983" actId="478"/>
        <pc:sldMkLst>
          <pc:docMk/>
          <pc:sldMk cId="2639319800" sldId="335"/>
        </pc:sldMkLst>
        <pc:spChg chg="del">
          <ac:chgData name="Camilla Tang (CTA)" userId="4e9b8642-a180-48d0-bfd6-dc9ad090493e" providerId="ADAL" clId="{EC4D0D56-B06D-47F7-9784-581D4BD46BCD}" dt="2021-12-06T09:48:11.563" v="1983" actId="478"/>
          <ac:spMkLst>
            <pc:docMk/>
            <pc:sldMk cId="2639319800" sldId="335"/>
            <ac:spMk id="27" creationId="{04FC6224-36CB-4F7B-AEBF-A12BB86CFCD2}"/>
          </ac:spMkLst>
        </pc:spChg>
        <pc:cxnChg chg="mod">
          <ac:chgData name="Camilla Tang (CTA)" userId="4e9b8642-a180-48d0-bfd6-dc9ad090493e" providerId="ADAL" clId="{EC4D0D56-B06D-47F7-9784-581D4BD46BCD}" dt="2021-12-05T09:55:45.077" v="483" actId="1076"/>
          <ac:cxnSpMkLst>
            <pc:docMk/>
            <pc:sldMk cId="2639319800" sldId="335"/>
            <ac:cxnSpMk id="9" creationId="{5B02ABC4-D92A-4D52-AF44-AC8E6FA604C2}"/>
          </ac:cxnSpMkLst>
        </pc:cxnChg>
      </pc:sldChg>
      <pc:sldChg chg="modSp add">
        <pc:chgData name="Camilla Tang (CTA)" userId="4e9b8642-a180-48d0-bfd6-dc9ad090493e" providerId="ADAL" clId="{EC4D0D56-B06D-47F7-9784-581D4BD46BCD}" dt="2021-12-06T10:01:45.769" v="2005" actId="20577"/>
        <pc:sldMkLst>
          <pc:docMk/>
          <pc:sldMk cId="1202620871" sldId="336"/>
        </pc:sldMkLst>
        <pc:spChg chg="mod">
          <ac:chgData name="Camilla Tang (CTA)" userId="4e9b8642-a180-48d0-bfd6-dc9ad090493e" providerId="ADAL" clId="{EC4D0D56-B06D-47F7-9784-581D4BD46BCD}" dt="2021-12-06T10:01:45.769" v="2005" actId="20577"/>
          <ac:spMkLst>
            <pc:docMk/>
            <pc:sldMk cId="1202620871" sldId="336"/>
            <ac:spMk id="10" creationId="{D8E1ECD9-D3D0-4AFC-B283-CE4921D2850A}"/>
          </ac:spMkLst>
        </pc:spChg>
      </pc:sldChg>
      <pc:sldChg chg="addSp delSp modSp mod addAnim delAnim modAnim">
        <pc:chgData name="Camilla Tang (CTA)" userId="4e9b8642-a180-48d0-bfd6-dc9ad090493e" providerId="ADAL" clId="{EC4D0D56-B06D-47F7-9784-581D4BD46BCD}" dt="2021-12-05T10:35:35.509" v="936" actId="113"/>
        <pc:sldMkLst>
          <pc:docMk/>
          <pc:sldMk cId="1692293623" sldId="338"/>
        </pc:sldMkLst>
        <pc:spChg chg="add del mod">
          <ac:chgData name="Camilla Tang (CTA)" userId="4e9b8642-a180-48d0-bfd6-dc9ad090493e" providerId="ADAL" clId="{EC4D0D56-B06D-47F7-9784-581D4BD46BCD}" dt="2021-12-05T10:10:02.265" v="613" actId="478"/>
          <ac:spMkLst>
            <pc:docMk/>
            <pc:sldMk cId="1692293623" sldId="338"/>
            <ac:spMk id="2" creationId="{133277CA-8BF4-4B01-AF8D-2F051667651A}"/>
          </ac:spMkLst>
        </pc:spChg>
        <pc:spChg chg="del">
          <ac:chgData name="Camilla Tang (CTA)" userId="4e9b8642-a180-48d0-bfd6-dc9ad090493e" providerId="ADAL" clId="{EC4D0D56-B06D-47F7-9784-581D4BD46BCD}" dt="2021-12-03T13:17:33.412" v="90" actId="478"/>
          <ac:spMkLst>
            <pc:docMk/>
            <pc:sldMk cId="1692293623" sldId="338"/>
            <ac:spMk id="2" creationId="{9EB8C2C7-9749-449C-8A52-1E42F4EA0B82}"/>
          </ac:spMkLst>
        </pc:spChg>
        <pc:spChg chg="mod">
          <ac:chgData name="Camilla Tang (CTA)" userId="4e9b8642-a180-48d0-bfd6-dc9ad090493e" providerId="ADAL" clId="{EC4D0D56-B06D-47F7-9784-581D4BD46BCD}" dt="2021-12-05T10:10:11.265" v="642" actId="1035"/>
          <ac:spMkLst>
            <pc:docMk/>
            <pc:sldMk cId="1692293623" sldId="338"/>
            <ac:spMk id="9" creationId="{08E7CEEC-5335-4859-8422-E89D222F6930}"/>
          </ac:spMkLst>
        </pc:spChg>
        <pc:spChg chg="mod">
          <ac:chgData name="Camilla Tang (CTA)" userId="4e9b8642-a180-48d0-bfd6-dc9ad090493e" providerId="ADAL" clId="{EC4D0D56-B06D-47F7-9784-581D4BD46BCD}" dt="2021-12-05T10:10:11.265" v="642" actId="1035"/>
          <ac:spMkLst>
            <pc:docMk/>
            <pc:sldMk cId="1692293623" sldId="338"/>
            <ac:spMk id="11" creationId="{D46C2659-0033-43CE-A636-BA05EA51A10B}"/>
          </ac:spMkLst>
        </pc:spChg>
        <pc:spChg chg="mod">
          <ac:chgData name="Camilla Tang (CTA)" userId="4e9b8642-a180-48d0-bfd6-dc9ad090493e" providerId="ADAL" clId="{EC4D0D56-B06D-47F7-9784-581D4BD46BCD}" dt="2021-12-05T10:10:11.265" v="642" actId="1035"/>
          <ac:spMkLst>
            <pc:docMk/>
            <pc:sldMk cId="1692293623" sldId="338"/>
            <ac:spMk id="13" creationId="{C3640835-858A-4EFB-8994-BF1891048A0D}"/>
          </ac:spMkLst>
        </pc:spChg>
        <pc:spChg chg="del">
          <ac:chgData name="Camilla Tang (CTA)" userId="4e9b8642-a180-48d0-bfd6-dc9ad090493e" providerId="ADAL" clId="{EC4D0D56-B06D-47F7-9784-581D4BD46BCD}" dt="2021-12-03T13:17:32.542" v="89" actId="478"/>
          <ac:spMkLst>
            <pc:docMk/>
            <pc:sldMk cId="1692293623" sldId="338"/>
            <ac:spMk id="14" creationId="{F386239B-6A9D-4E93-82AA-D1B1E049FA51}"/>
          </ac:spMkLst>
        </pc:spChg>
        <pc:spChg chg="mod">
          <ac:chgData name="Camilla Tang (CTA)" userId="4e9b8642-a180-48d0-bfd6-dc9ad090493e" providerId="ADAL" clId="{EC4D0D56-B06D-47F7-9784-581D4BD46BCD}" dt="2021-12-05T10:10:11.265" v="642" actId="1035"/>
          <ac:spMkLst>
            <pc:docMk/>
            <pc:sldMk cId="1692293623" sldId="338"/>
            <ac:spMk id="15" creationId="{36BB1048-D4B2-45AD-8E31-D45FDBE3CEE8}"/>
          </ac:spMkLst>
        </pc:spChg>
        <pc:spChg chg="mod">
          <ac:chgData name="Camilla Tang (CTA)" userId="4e9b8642-a180-48d0-bfd6-dc9ad090493e" providerId="ADAL" clId="{EC4D0D56-B06D-47F7-9784-581D4BD46BCD}" dt="2021-12-05T10:10:11.265" v="642" actId="1035"/>
          <ac:spMkLst>
            <pc:docMk/>
            <pc:sldMk cId="1692293623" sldId="338"/>
            <ac:spMk id="16" creationId="{54868846-E4FF-4709-A956-8CAD9FB71CF3}"/>
          </ac:spMkLst>
        </pc:spChg>
        <pc:spChg chg="del">
          <ac:chgData name="Camilla Tang (CTA)" userId="4e9b8642-a180-48d0-bfd6-dc9ad090493e" providerId="ADAL" clId="{EC4D0D56-B06D-47F7-9784-581D4BD46BCD}" dt="2021-12-03T13:17:34.002" v="91" actId="478"/>
          <ac:spMkLst>
            <pc:docMk/>
            <pc:sldMk cId="1692293623" sldId="338"/>
            <ac:spMk id="17" creationId="{EDF0AB0B-D7FD-4039-B210-0B5252BC264A}"/>
          </ac:spMkLst>
        </pc:spChg>
        <pc:spChg chg="del">
          <ac:chgData name="Camilla Tang (CTA)" userId="4e9b8642-a180-48d0-bfd6-dc9ad090493e" providerId="ADAL" clId="{EC4D0D56-B06D-47F7-9784-581D4BD46BCD}" dt="2021-12-03T13:17:31.256" v="88" actId="478"/>
          <ac:spMkLst>
            <pc:docMk/>
            <pc:sldMk cId="1692293623" sldId="338"/>
            <ac:spMk id="18" creationId="{7CFA27EC-D983-4B0D-9FC9-D69C4ABAF7E7}"/>
          </ac:spMkLst>
        </pc:spChg>
        <pc:spChg chg="add del mod">
          <ac:chgData name="Camilla Tang (CTA)" userId="4e9b8642-a180-48d0-bfd6-dc9ad090493e" providerId="ADAL" clId="{EC4D0D56-B06D-47F7-9784-581D4BD46BCD}" dt="2021-12-05T10:09:29.327" v="584" actId="478"/>
          <ac:spMkLst>
            <pc:docMk/>
            <pc:sldMk cId="1692293623" sldId="338"/>
            <ac:spMk id="21" creationId="{A612812C-F0CB-4383-9B32-5388B1B32D35}"/>
          </ac:spMkLst>
        </pc:spChg>
        <pc:spChg chg="add del mod">
          <ac:chgData name="Camilla Tang (CTA)" userId="4e9b8642-a180-48d0-bfd6-dc9ad090493e" providerId="ADAL" clId="{EC4D0D56-B06D-47F7-9784-581D4BD46BCD}" dt="2021-12-05T10:09:31.241" v="585" actId="478"/>
          <ac:spMkLst>
            <pc:docMk/>
            <pc:sldMk cId="1692293623" sldId="338"/>
            <ac:spMk id="22" creationId="{4E9C69B2-C03C-4F84-A205-4A91434BAB28}"/>
          </ac:spMkLst>
        </pc:spChg>
        <pc:spChg chg="add mod">
          <ac:chgData name="Camilla Tang (CTA)" userId="4e9b8642-a180-48d0-bfd6-dc9ad090493e" providerId="ADAL" clId="{EC4D0D56-B06D-47F7-9784-581D4BD46BCD}" dt="2021-12-05T10:12:29.891" v="792" actId="1076"/>
          <ac:spMkLst>
            <pc:docMk/>
            <pc:sldMk cId="1692293623" sldId="338"/>
            <ac:spMk id="26" creationId="{3E456D71-817B-4E8F-91D5-0A7411C741DF}"/>
          </ac:spMkLst>
        </pc:spChg>
        <pc:spChg chg="add mod">
          <ac:chgData name="Camilla Tang (CTA)" userId="4e9b8642-a180-48d0-bfd6-dc9ad090493e" providerId="ADAL" clId="{EC4D0D56-B06D-47F7-9784-581D4BD46BCD}" dt="2021-12-05T10:12:39.248" v="795" actId="20577"/>
          <ac:spMkLst>
            <pc:docMk/>
            <pc:sldMk cId="1692293623" sldId="338"/>
            <ac:spMk id="27" creationId="{0FF6AB2B-C82B-4DB4-BA55-B25C8BCBF06C}"/>
          </ac:spMkLst>
        </pc:spChg>
        <pc:graphicFrameChg chg="add mod modGraphic">
          <ac:chgData name="Camilla Tang (CTA)" userId="4e9b8642-a180-48d0-bfd6-dc9ad090493e" providerId="ADAL" clId="{EC4D0D56-B06D-47F7-9784-581D4BD46BCD}" dt="2021-12-05T10:35:35.509" v="936" actId="113"/>
          <ac:graphicFrameMkLst>
            <pc:docMk/>
            <pc:sldMk cId="1692293623" sldId="338"/>
            <ac:graphicFrameMk id="23" creationId="{1008E27E-D853-443C-AB7F-125B32121D98}"/>
          </ac:graphicFrameMkLst>
        </pc:graphicFrameChg>
        <pc:picChg chg="del">
          <ac:chgData name="Camilla Tang (CTA)" userId="4e9b8642-a180-48d0-bfd6-dc9ad090493e" providerId="ADAL" clId="{EC4D0D56-B06D-47F7-9784-581D4BD46BCD}" dt="2021-12-03T13:17:58.412" v="94" actId="478"/>
          <ac:picMkLst>
            <pc:docMk/>
            <pc:sldMk cId="1692293623" sldId="338"/>
            <ac:picMk id="19" creationId="{9067EC75-FAC7-41D0-99DB-6C445F74CEED}"/>
          </ac:picMkLst>
        </pc:picChg>
        <pc:cxnChg chg="mod">
          <ac:chgData name="Camilla Tang (CTA)" userId="4e9b8642-a180-48d0-bfd6-dc9ad090493e" providerId="ADAL" clId="{EC4D0D56-B06D-47F7-9784-581D4BD46BCD}" dt="2021-12-05T10:10:11.265" v="642" actId="1035"/>
          <ac:cxnSpMkLst>
            <pc:docMk/>
            <pc:sldMk cId="1692293623" sldId="338"/>
            <ac:cxnSpMk id="7" creationId="{091F74EF-3E0E-4247-BE19-35B8677DFF07}"/>
          </ac:cxnSpMkLst>
        </pc:cxnChg>
        <pc:cxnChg chg="add mod">
          <ac:chgData name="Camilla Tang (CTA)" userId="4e9b8642-a180-48d0-bfd6-dc9ad090493e" providerId="ADAL" clId="{EC4D0D56-B06D-47F7-9784-581D4BD46BCD}" dt="2021-12-05T10:11:19.242" v="724" actId="14100"/>
          <ac:cxnSpMkLst>
            <pc:docMk/>
            <pc:sldMk cId="1692293623" sldId="338"/>
            <ac:cxnSpMk id="8" creationId="{E255A080-BADB-4CC9-BCB9-1EC852D698CA}"/>
          </ac:cxnSpMkLst>
        </pc:cxnChg>
        <pc:cxnChg chg="mod">
          <ac:chgData name="Camilla Tang (CTA)" userId="4e9b8642-a180-48d0-bfd6-dc9ad090493e" providerId="ADAL" clId="{EC4D0D56-B06D-47F7-9784-581D4BD46BCD}" dt="2021-12-05T10:10:11.265" v="642" actId="1035"/>
          <ac:cxnSpMkLst>
            <pc:docMk/>
            <pc:sldMk cId="1692293623" sldId="338"/>
            <ac:cxnSpMk id="10" creationId="{8EEF9AB7-BD6C-4455-97FD-57087550B12E}"/>
          </ac:cxnSpMkLst>
        </pc:cxnChg>
        <pc:cxnChg chg="mod">
          <ac:chgData name="Camilla Tang (CTA)" userId="4e9b8642-a180-48d0-bfd6-dc9ad090493e" providerId="ADAL" clId="{EC4D0D56-B06D-47F7-9784-581D4BD46BCD}" dt="2021-12-05T10:10:11.265" v="642" actId="1035"/>
          <ac:cxnSpMkLst>
            <pc:docMk/>
            <pc:sldMk cId="1692293623" sldId="338"/>
            <ac:cxnSpMk id="12" creationId="{67852867-6390-44DA-A7DD-CACDC3C37635}"/>
          </ac:cxnSpMkLst>
        </pc:cxnChg>
        <pc:cxnChg chg="add mod">
          <ac:chgData name="Camilla Tang (CTA)" userId="4e9b8642-a180-48d0-bfd6-dc9ad090493e" providerId="ADAL" clId="{EC4D0D56-B06D-47F7-9784-581D4BD46BCD}" dt="2021-12-05T10:11:17.065" v="723" actId="14100"/>
          <ac:cxnSpMkLst>
            <pc:docMk/>
            <pc:sldMk cId="1692293623" sldId="338"/>
            <ac:cxnSpMk id="17" creationId="{37AFD33D-0723-44BE-BDA6-4C1FA3FE1939}"/>
          </ac:cxnSpMkLst>
        </pc:cxnChg>
      </pc:sldChg>
      <pc:sldChg chg="delSp modSp add mod ord delAnim modAnim">
        <pc:chgData name="Camilla Tang (CTA)" userId="4e9b8642-a180-48d0-bfd6-dc9ad090493e" providerId="ADAL" clId="{EC4D0D56-B06D-47F7-9784-581D4BD46BCD}" dt="2021-12-05T10:35:18.585" v="935"/>
        <pc:sldMkLst>
          <pc:docMk/>
          <pc:sldMk cId="1216465253" sldId="344"/>
        </pc:sldMkLst>
        <pc:spChg chg="mod">
          <ac:chgData name="Camilla Tang (CTA)" userId="4e9b8642-a180-48d0-bfd6-dc9ad090493e" providerId="ADAL" clId="{EC4D0D56-B06D-47F7-9784-581D4BD46BCD}" dt="2021-12-05T09:57:36.494" v="533" actId="1076"/>
          <ac:spMkLst>
            <pc:docMk/>
            <pc:sldMk cId="1216465253" sldId="344"/>
            <ac:spMk id="3" creationId="{617A8E05-5161-4FD4-BFB8-C5C80961E806}"/>
          </ac:spMkLst>
        </pc:spChg>
        <pc:spChg chg="del">
          <ac:chgData name="Camilla Tang (CTA)" userId="4e9b8642-a180-48d0-bfd6-dc9ad090493e" providerId="ADAL" clId="{EC4D0D56-B06D-47F7-9784-581D4BD46BCD}" dt="2021-12-05T09:57:27.476" v="532" actId="478"/>
          <ac:spMkLst>
            <pc:docMk/>
            <pc:sldMk cId="1216465253" sldId="344"/>
            <ac:spMk id="5" creationId="{69A3848F-9C02-41C0-AE0D-001B0AD4DF40}"/>
          </ac:spMkLst>
        </pc:spChg>
        <pc:spChg chg="mod">
          <ac:chgData name="Camilla Tang (CTA)" userId="4e9b8642-a180-48d0-bfd6-dc9ad090493e" providerId="ADAL" clId="{EC4D0D56-B06D-47F7-9784-581D4BD46BCD}" dt="2021-12-05T09:57:36.494" v="533" actId="1076"/>
          <ac:spMkLst>
            <pc:docMk/>
            <pc:sldMk cId="1216465253" sldId="344"/>
            <ac:spMk id="33" creationId="{787F1375-57FF-4A41-9BA4-35E82FEC7944}"/>
          </ac:spMkLst>
        </pc:spChg>
        <pc:spChg chg="mod">
          <ac:chgData name="Camilla Tang (CTA)" userId="4e9b8642-a180-48d0-bfd6-dc9ad090493e" providerId="ADAL" clId="{EC4D0D56-B06D-47F7-9784-581D4BD46BCD}" dt="2021-12-05T09:57:36.494" v="533" actId="1076"/>
          <ac:spMkLst>
            <pc:docMk/>
            <pc:sldMk cId="1216465253" sldId="344"/>
            <ac:spMk id="34" creationId="{9464B99E-9EC7-4FE3-8E8E-F29B004E9256}"/>
          </ac:spMkLst>
        </pc:spChg>
        <pc:spChg chg="mod">
          <ac:chgData name="Camilla Tang (CTA)" userId="4e9b8642-a180-48d0-bfd6-dc9ad090493e" providerId="ADAL" clId="{EC4D0D56-B06D-47F7-9784-581D4BD46BCD}" dt="2021-12-05T09:57:36.494" v="533" actId="1076"/>
          <ac:spMkLst>
            <pc:docMk/>
            <pc:sldMk cId="1216465253" sldId="344"/>
            <ac:spMk id="35" creationId="{FB76B434-B059-4311-B0B0-6A4010B4DB3C}"/>
          </ac:spMkLst>
        </pc:spChg>
        <pc:spChg chg="del">
          <ac:chgData name="Camilla Tang (CTA)" userId="4e9b8642-a180-48d0-bfd6-dc9ad090493e" providerId="ADAL" clId="{EC4D0D56-B06D-47F7-9784-581D4BD46BCD}" dt="2021-12-05T09:57:27.476" v="532" actId="478"/>
          <ac:spMkLst>
            <pc:docMk/>
            <pc:sldMk cId="1216465253" sldId="344"/>
            <ac:spMk id="47" creationId="{DE4F19F8-08DD-43B5-94A2-7939E70B413C}"/>
          </ac:spMkLst>
        </pc:spChg>
        <pc:spChg chg="del">
          <ac:chgData name="Camilla Tang (CTA)" userId="4e9b8642-a180-48d0-bfd6-dc9ad090493e" providerId="ADAL" clId="{EC4D0D56-B06D-47F7-9784-581D4BD46BCD}" dt="2021-12-05T09:57:27.476" v="532" actId="478"/>
          <ac:spMkLst>
            <pc:docMk/>
            <pc:sldMk cId="1216465253" sldId="344"/>
            <ac:spMk id="49" creationId="{FAD6687F-2F16-4D5C-8F00-9150BBB0DFC2}"/>
          </ac:spMkLst>
        </pc:spChg>
        <pc:spChg chg="del">
          <ac:chgData name="Camilla Tang (CTA)" userId="4e9b8642-a180-48d0-bfd6-dc9ad090493e" providerId="ADAL" clId="{EC4D0D56-B06D-47F7-9784-581D4BD46BCD}" dt="2021-12-05T09:57:27.476" v="532" actId="478"/>
          <ac:spMkLst>
            <pc:docMk/>
            <pc:sldMk cId="1216465253" sldId="344"/>
            <ac:spMk id="51" creationId="{C49FF02E-0D30-42EA-B5F1-CDF9A5507E07}"/>
          </ac:spMkLst>
        </pc:spChg>
        <pc:spChg chg="del">
          <ac:chgData name="Camilla Tang (CTA)" userId="4e9b8642-a180-48d0-bfd6-dc9ad090493e" providerId="ADAL" clId="{EC4D0D56-B06D-47F7-9784-581D4BD46BCD}" dt="2021-12-05T09:57:27.476" v="532" actId="478"/>
          <ac:spMkLst>
            <pc:docMk/>
            <pc:sldMk cId="1216465253" sldId="344"/>
            <ac:spMk id="52" creationId="{701C5D05-25F4-45F9-9A25-012C15B33641}"/>
          </ac:spMkLst>
        </pc:spChg>
        <pc:spChg chg="del">
          <ac:chgData name="Camilla Tang (CTA)" userId="4e9b8642-a180-48d0-bfd6-dc9ad090493e" providerId="ADAL" clId="{EC4D0D56-B06D-47F7-9784-581D4BD46BCD}" dt="2021-12-05T09:57:27.476" v="532" actId="478"/>
          <ac:spMkLst>
            <pc:docMk/>
            <pc:sldMk cId="1216465253" sldId="344"/>
            <ac:spMk id="53" creationId="{80AFBE6B-3CC4-41CD-9AEC-9A88826C889F}"/>
          </ac:spMkLst>
        </pc:spChg>
        <pc:spChg chg="del">
          <ac:chgData name="Camilla Tang (CTA)" userId="4e9b8642-a180-48d0-bfd6-dc9ad090493e" providerId="ADAL" clId="{EC4D0D56-B06D-47F7-9784-581D4BD46BCD}" dt="2021-12-05T09:57:22.839" v="531" actId="478"/>
          <ac:spMkLst>
            <pc:docMk/>
            <pc:sldMk cId="1216465253" sldId="344"/>
            <ac:spMk id="54" creationId="{8A5D9E74-FBFE-47CB-9DFE-A464DAF44CDC}"/>
          </ac:spMkLst>
        </pc:spChg>
        <pc:picChg chg="mod">
          <ac:chgData name="Camilla Tang (CTA)" userId="4e9b8642-a180-48d0-bfd6-dc9ad090493e" providerId="ADAL" clId="{EC4D0D56-B06D-47F7-9784-581D4BD46BCD}" dt="2021-12-05T09:57:36.494" v="533" actId="1076"/>
          <ac:picMkLst>
            <pc:docMk/>
            <pc:sldMk cId="1216465253" sldId="344"/>
            <ac:picMk id="32" creationId="{F4BA688C-9F22-4E8C-98DD-D7AB2C56EEC5}"/>
          </ac:picMkLst>
        </pc:picChg>
        <pc:picChg chg="mod">
          <ac:chgData name="Camilla Tang (CTA)" userId="4e9b8642-a180-48d0-bfd6-dc9ad090493e" providerId="ADAL" clId="{EC4D0D56-B06D-47F7-9784-581D4BD46BCD}" dt="2021-12-05T09:57:36.494" v="533" actId="1076"/>
          <ac:picMkLst>
            <pc:docMk/>
            <pc:sldMk cId="1216465253" sldId="344"/>
            <ac:picMk id="36" creationId="{E2FA2BFB-6697-402A-9F2A-20A4FE4D79D8}"/>
          </ac:picMkLst>
        </pc:picChg>
        <pc:picChg chg="mod">
          <ac:chgData name="Camilla Tang (CTA)" userId="4e9b8642-a180-48d0-bfd6-dc9ad090493e" providerId="ADAL" clId="{EC4D0D56-B06D-47F7-9784-581D4BD46BCD}" dt="2021-12-05T09:57:36.494" v="533" actId="1076"/>
          <ac:picMkLst>
            <pc:docMk/>
            <pc:sldMk cId="1216465253" sldId="344"/>
            <ac:picMk id="37" creationId="{2585C177-0352-43AC-BF2D-EE9814E04340}"/>
          </ac:picMkLst>
        </pc:picChg>
        <pc:cxnChg chg="mod">
          <ac:chgData name="Camilla Tang (CTA)" userId="4e9b8642-a180-48d0-bfd6-dc9ad090493e" providerId="ADAL" clId="{EC4D0D56-B06D-47F7-9784-581D4BD46BCD}" dt="2021-12-05T09:57:36.494" v="533" actId="1076"/>
          <ac:cxnSpMkLst>
            <pc:docMk/>
            <pc:sldMk cId="1216465253" sldId="344"/>
            <ac:cxnSpMk id="30" creationId="{EDEC228F-A8A5-445B-A2B8-58163ECBC319}"/>
          </ac:cxnSpMkLst>
        </pc:cxnChg>
        <pc:cxnChg chg="del">
          <ac:chgData name="Camilla Tang (CTA)" userId="4e9b8642-a180-48d0-bfd6-dc9ad090493e" providerId="ADAL" clId="{EC4D0D56-B06D-47F7-9784-581D4BD46BCD}" dt="2021-12-05T09:57:27.476" v="532" actId="478"/>
          <ac:cxnSpMkLst>
            <pc:docMk/>
            <pc:sldMk cId="1216465253" sldId="344"/>
            <ac:cxnSpMk id="46" creationId="{571E5A59-EDF4-47B2-A643-BD8D7E2C06E5}"/>
          </ac:cxnSpMkLst>
        </pc:cxnChg>
        <pc:cxnChg chg="del">
          <ac:chgData name="Camilla Tang (CTA)" userId="4e9b8642-a180-48d0-bfd6-dc9ad090493e" providerId="ADAL" clId="{EC4D0D56-B06D-47F7-9784-581D4BD46BCD}" dt="2021-12-05T09:57:27.476" v="532" actId="478"/>
          <ac:cxnSpMkLst>
            <pc:docMk/>
            <pc:sldMk cId="1216465253" sldId="344"/>
            <ac:cxnSpMk id="48" creationId="{1742A6F3-BC3C-4365-A93D-BDCEA346F96E}"/>
          </ac:cxnSpMkLst>
        </pc:cxnChg>
        <pc:cxnChg chg="del">
          <ac:chgData name="Camilla Tang (CTA)" userId="4e9b8642-a180-48d0-bfd6-dc9ad090493e" providerId="ADAL" clId="{EC4D0D56-B06D-47F7-9784-581D4BD46BCD}" dt="2021-12-05T09:57:27.476" v="532" actId="478"/>
          <ac:cxnSpMkLst>
            <pc:docMk/>
            <pc:sldMk cId="1216465253" sldId="344"/>
            <ac:cxnSpMk id="50" creationId="{7C61E62D-1BDA-43D0-8547-CCF924D5DB93}"/>
          </ac:cxnSpMkLst>
        </pc:cxnChg>
      </pc:sldChg>
      <pc:sldChg chg="addSp modSp add mod modAnim">
        <pc:chgData name="Camilla Tang (CTA)" userId="4e9b8642-a180-48d0-bfd6-dc9ad090493e" providerId="ADAL" clId="{EC4D0D56-B06D-47F7-9784-581D4BD46BCD}" dt="2021-12-05T10:34:48.981" v="934" actId="20577"/>
        <pc:sldMkLst>
          <pc:docMk/>
          <pc:sldMk cId="2943546403" sldId="345"/>
        </pc:sldMkLst>
        <pc:spChg chg="mod">
          <ac:chgData name="Camilla Tang (CTA)" userId="4e9b8642-a180-48d0-bfd6-dc9ad090493e" providerId="ADAL" clId="{EC4D0D56-B06D-47F7-9784-581D4BD46BCD}" dt="2021-12-03T13:15:03.321" v="86" actId="20577"/>
          <ac:spMkLst>
            <pc:docMk/>
            <pc:sldMk cId="2943546403" sldId="345"/>
            <ac:spMk id="3" creationId="{A6E90481-FB0C-4C37-A05A-6CAAF9A53FA8}"/>
          </ac:spMkLst>
        </pc:spChg>
        <pc:spChg chg="add mod">
          <ac:chgData name="Camilla Tang (CTA)" userId="4e9b8642-a180-48d0-bfd6-dc9ad090493e" providerId="ADAL" clId="{EC4D0D56-B06D-47F7-9784-581D4BD46BCD}" dt="2021-12-05T09:43:50.495" v="342"/>
          <ac:spMkLst>
            <pc:docMk/>
            <pc:sldMk cId="2943546403" sldId="345"/>
            <ac:spMk id="5" creationId="{25CC63C6-BF0D-4E50-93EB-17BDA6676453}"/>
          </ac:spMkLst>
        </pc:spChg>
        <pc:spChg chg="add mod">
          <ac:chgData name="Camilla Tang (CTA)" userId="4e9b8642-a180-48d0-bfd6-dc9ad090493e" providerId="ADAL" clId="{EC4D0D56-B06D-47F7-9784-581D4BD46BCD}" dt="2021-12-05T09:50:57.820" v="473"/>
          <ac:spMkLst>
            <pc:docMk/>
            <pc:sldMk cId="2943546403" sldId="345"/>
            <ac:spMk id="13" creationId="{062E3E23-3D26-4F43-A17E-6E3547E2FF04}"/>
          </ac:spMkLst>
        </pc:spChg>
        <pc:spChg chg="add mod">
          <ac:chgData name="Camilla Tang (CTA)" userId="4e9b8642-a180-48d0-bfd6-dc9ad090493e" providerId="ADAL" clId="{EC4D0D56-B06D-47F7-9784-581D4BD46BCD}" dt="2021-12-05T09:51:33.911" v="481" actId="14100"/>
          <ac:spMkLst>
            <pc:docMk/>
            <pc:sldMk cId="2943546403" sldId="345"/>
            <ac:spMk id="16" creationId="{3B5F5D61-5E0F-4218-A2CA-CEC74F7BFB5F}"/>
          </ac:spMkLst>
        </pc:spChg>
        <pc:spChg chg="add mod">
          <ac:chgData name="Camilla Tang (CTA)" userId="4e9b8642-a180-48d0-bfd6-dc9ad090493e" providerId="ADAL" clId="{EC4D0D56-B06D-47F7-9784-581D4BD46BCD}" dt="2021-12-05T10:34:48.010" v="933" actId="20577"/>
          <ac:spMkLst>
            <pc:docMk/>
            <pc:sldMk cId="2943546403" sldId="345"/>
            <ac:spMk id="18" creationId="{B7AAACCA-B6B0-457D-A72C-197245720C59}"/>
          </ac:spMkLst>
        </pc:spChg>
        <pc:spChg chg="add mod">
          <ac:chgData name="Camilla Tang (CTA)" userId="4e9b8642-a180-48d0-bfd6-dc9ad090493e" providerId="ADAL" clId="{EC4D0D56-B06D-47F7-9784-581D4BD46BCD}" dt="2021-12-05T10:34:26.073" v="929" actId="20577"/>
          <ac:spMkLst>
            <pc:docMk/>
            <pc:sldMk cId="2943546403" sldId="345"/>
            <ac:spMk id="19" creationId="{CE3C4058-E7CD-419D-920D-B84BEE6E1873}"/>
          </ac:spMkLst>
        </pc:spChg>
        <pc:spChg chg="add mod">
          <ac:chgData name="Camilla Tang (CTA)" userId="4e9b8642-a180-48d0-bfd6-dc9ad090493e" providerId="ADAL" clId="{EC4D0D56-B06D-47F7-9784-581D4BD46BCD}" dt="2021-12-05T09:51:31.137" v="480" actId="14100"/>
          <ac:spMkLst>
            <pc:docMk/>
            <pc:sldMk cId="2943546403" sldId="345"/>
            <ac:spMk id="20" creationId="{68C3C5C6-7449-495E-95A0-CA0243D6E0D4}"/>
          </ac:spMkLst>
        </pc:spChg>
      </pc:sldChg>
      <pc:sldChg chg="add">
        <pc:chgData name="Camilla Tang (CTA)" userId="4e9b8642-a180-48d0-bfd6-dc9ad090493e" providerId="ADAL" clId="{EC4D0D56-B06D-47F7-9784-581D4BD46BCD}" dt="2021-12-06T09:58:40.273" v="1984"/>
        <pc:sldMkLst>
          <pc:docMk/>
          <pc:sldMk cId="1270716029" sldId="346"/>
        </pc:sldMkLst>
      </pc:sldChg>
      <pc:sldChg chg="add del">
        <pc:chgData name="Camilla Tang (CTA)" userId="4e9b8642-a180-48d0-bfd6-dc9ad090493e" providerId="ADAL" clId="{EC4D0D56-B06D-47F7-9784-581D4BD46BCD}" dt="2021-12-03T13:17:53.692" v="92" actId="47"/>
        <pc:sldMkLst>
          <pc:docMk/>
          <pc:sldMk cId="293686285" sldId="355"/>
        </pc:sldMkLst>
      </pc:sldChg>
      <pc:sldChg chg="delSp modSp mod ord">
        <pc:chgData name="Camilla Tang (CTA)" userId="4e9b8642-a180-48d0-bfd6-dc9ad090493e" providerId="ADAL" clId="{EC4D0D56-B06D-47F7-9784-581D4BD46BCD}" dt="2021-12-05T13:22:13.148" v="1220" actId="20577"/>
        <pc:sldMkLst>
          <pc:docMk/>
          <pc:sldMk cId="2254031252" sldId="356"/>
        </pc:sldMkLst>
        <pc:spChg chg="mod">
          <ac:chgData name="Camilla Tang (CTA)" userId="4e9b8642-a180-48d0-bfd6-dc9ad090493e" providerId="ADAL" clId="{EC4D0D56-B06D-47F7-9784-581D4BD46BCD}" dt="2021-12-05T13:22:13.148" v="1220" actId="20577"/>
          <ac:spMkLst>
            <pc:docMk/>
            <pc:sldMk cId="2254031252" sldId="356"/>
            <ac:spMk id="19" creationId="{74679922-CC49-42BE-9EC4-EDBEEFC4CEEC}"/>
          </ac:spMkLst>
        </pc:spChg>
        <pc:picChg chg="del">
          <ac:chgData name="Camilla Tang (CTA)" userId="4e9b8642-a180-48d0-bfd6-dc9ad090493e" providerId="ADAL" clId="{EC4D0D56-B06D-47F7-9784-581D4BD46BCD}" dt="2021-12-03T13:18:01.356" v="95" actId="478"/>
          <ac:picMkLst>
            <pc:docMk/>
            <pc:sldMk cId="2254031252" sldId="356"/>
            <ac:picMk id="7" creationId="{7B7852AB-EEFE-43A7-BF09-8F34AD102EE2}"/>
          </ac:picMkLst>
        </pc:picChg>
      </pc:sldChg>
      <pc:sldChg chg="delSp mod">
        <pc:chgData name="Camilla Tang (CTA)" userId="4e9b8642-a180-48d0-bfd6-dc9ad090493e" providerId="ADAL" clId="{EC4D0D56-B06D-47F7-9784-581D4BD46BCD}" dt="2021-12-03T13:17:56.522" v="93" actId="478"/>
        <pc:sldMkLst>
          <pc:docMk/>
          <pc:sldMk cId="4206950912" sldId="357"/>
        </pc:sldMkLst>
        <pc:picChg chg="del">
          <ac:chgData name="Camilla Tang (CTA)" userId="4e9b8642-a180-48d0-bfd6-dc9ad090493e" providerId="ADAL" clId="{EC4D0D56-B06D-47F7-9784-581D4BD46BCD}" dt="2021-12-03T13:17:56.522" v="93" actId="478"/>
          <ac:picMkLst>
            <pc:docMk/>
            <pc:sldMk cId="4206950912" sldId="357"/>
            <ac:picMk id="17" creationId="{4F92CC77-7A38-4458-84CE-278C353889B5}"/>
          </ac:picMkLst>
        </pc:picChg>
      </pc:sldChg>
      <pc:sldChg chg="addSp delSp modSp new mod delAnim modAnim">
        <pc:chgData name="Camilla Tang (CTA)" userId="4e9b8642-a180-48d0-bfd6-dc9ad090493e" providerId="ADAL" clId="{EC4D0D56-B06D-47F7-9784-581D4BD46BCD}" dt="2021-12-05T13:09:37.160" v="1075"/>
        <pc:sldMkLst>
          <pc:docMk/>
          <pc:sldMk cId="659864761" sldId="358"/>
        </pc:sldMkLst>
        <pc:spChg chg="mod">
          <ac:chgData name="Camilla Tang (CTA)" userId="4e9b8642-a180-48d0-bfd6-dc9ad090493e" providerId="ADAL" clId="{EC4D0D56-B06D-47F7-9784-581D4BD46BCD}" dt="2021-12-03T13:38:40.365" v="121" actId="20577"/>
          <ac:spMkLst>
            <pc:docMk/>
            <pc:sldMk cId="659864761" sldId="358"/>
            <ac:spMk id="2" creationId="{E8A97FBF-4FF7-4BF2-8EF3-ED39553139D1}"/>
          </ac:spMkLst>
        </pc:spChg>
        <pc:spChg chg="del mod">
          <ac:chgData name="Camilla Tang (CTA)" userId="4e9b8642-a180-48d0-bfd6-dc9ad090493e" providerId="ADAL" clId="{EC4D0D56-B06D-47F7-9784-581D4BD46BCD}" dt="2021-12-05T10:18:32.991" v="864" actId="478"/>
          <ac:spMkLst>
            <pc:docMk/>
            <pc:sldMk cId="659864761" sldId="358"/>
            <ac:spMk id="3" creationId="{67A4C503-8CE0-4796-A1E4-E0D6183B4167}"/>
          </ac:spMkLst>
        </pc:spChg>
        <pc:spChg chg="add del mod">
          <ac:chgData name="Camilla Tang (CTA)" userId="4e9b8642-a180-48d0-bfd6-dc9ad090493e" providerId="ADAL" clId="{EC4D0D56-B06D-47F7-9784-581D4BD46BCD}" dt="2021-12-05T13:07:06.778" v="940" actId="478"/>
          <ac:spMkLst>
            <pc:docMk/>
            <pc:sldMk cId="659864761" sldId="358"/>
            <ac:spMk id="7" creationId="{85A9A6B9-4C02-4416-862F-19CFF877DF48}"/>
          </ac:spMkLst>
        </pc:spChg>
        <pc:spChg chg="add del mod">
          <ac:chgData name="Camilla Tang (CTA)" userId="4e9b8642-a180-48d0-bfd6-dc9ad090493e" providerId="ADAL" clId="{EC4D0D56-B06D-47F7-9784-581D4BD46BCD}" dt="2021-12-05T13:07:03.639" v="938" actId="478"/>
          <ac:spMkLst>
            <pc:docMk/>
            <pc:sldMk cId="659864761" sldId="358"/>
            <ac:spMk id="8" creationId="{A9DB36BC-76B9-48E4-828C-92FA23E85D75}"/>
          </ac:spMkLst>
        </pc:spChg>
        <pc:spChg chg="add del mod">
          <ac:chgData name="Camilla Tang (CTA)" userId="4e9b8642-a180-48d0-bfd6-dc9ad090493e" providerId="ADAL" clId="{EC4D0D56-B06D-47F7-9784-581D4BD46BCD}" dt="2021-12-05T13:07:05.431" v="939" actId="478"/>
          <ac:spMkLst>
            <pc:docMk/>
            <pc:sldMk cId="659864761" sldId="358"/>
            <ac:spMk id="9" creationId="{73059EE1-E0ED-442C-97FC-5249466D3094}"/>
          </ac:spMkLst>
        </pc:spChg>
        <pc:spChg chg="add mod">
          <ac:chgData name="Camilla Tang (CTA)" userId="4e9b8642-a180-48d0-bfd6-dc9ad090493e" providerId="ADAL" clId="{EC4D0D56-B06D-47F7-9784-581D4BD46BCD}" dt="2021-12-05T13:07:34.732" v="942" actId="1076"/>
          <ac:spMkLst>
            <pc:docMk/>
            <pc:sldMk cId="659864761" sldId="358"/>
            <ac:spMk id="10" creationId="{4A1578F8-EFE9-49F1-A5D7-8E9B83FE24A4}"/>
          </ac:spMkLst>
        </pc:spChg>
        <pc:spChg chg="add mod">
          <ac:chgData name="Camilla Tang (CTA)" userId="4e9b8642-a180-48d0-bfd6-dc9ad090493e" providerId="ADAL" clId="{EC4D0D56-B06D-47F7-9784-581D4BD46BCD}" dt="2021-12-05T13:09:26.103" v="1074" actId="207"/>
          <ac:spMkLst>
            <pc:docMk/>
            <pc:sldMk cId="659864761" sldId="358"/>
            <ac:spMk id="11" creationId="{8F2696F6-4F25-46EC-9256-D71F684674C4}"/>
          </ac:spMkLst>
        </pc:spChg>
        <pc:spChg chg="add mod">
          <ac:chgData name="Camilla Tang (CTA)" userId="4e9b8642-a180-48d0-bfd6-dc9ad090493e" providerId="ADAL" clId="{EC4D0D56-B06D-47F7-9784-581D4BD46BCD}" dt="2021-12-05T13:09:26.103" v="1074" actId="207"/>
          <ac:spMkLst>
            <pc:docMk/>
            <pc:sldMk cId="659864761" sldId="358"/>
            <ac:spMk id="12" creationId="{E30CAE0C-6055-407F-98C4-41D1E7DE4006}"/>
          </ac:spMkLst>
        </pc:spChg>
        <pc:spChg chg="add mod">
          <ac:chgData name="Camilla Tang (CTA)" userId="4e9b8642-a180-48d0-bfd6-dc9ad090493e" providerId="ADAL" clId="{EC4D0D56-B06D-47F7-9784-581D4BD46BCD}" dt="2021-12-05T13:09:26.103" v="1074" actId="207"/>
          <ac:spMkLst>
            <pc:docMk/>
            <pc:sldMk cId="659864761" sldId="358"/>
            <ac:spMk id="15" creationId="{03E382E4-244B-46BC-8944-1D563AC61994}"/>
          </ac:spMkLst>
        </pc:spChg>
        <pc:spChg chg="add mod">
          <ac:chgData name="Camilla Tang (CTA)" userId="4e9b8642-a180-48d0-bfd6-dc9ad090493e" providerId="ADAL" clId="{EC4D0D56-B06D-47F7-9784-581D4BD46BCD}" dt="2021-12-05T13:08:34.063" v="1018"/>
          <ac:spMkLst>
            <pc:docMk/>
            <pc:sldMk cId="659864761" sldId="358"/>
            <ac:spMk id="16" creationId="{75334D9D-8EC8-4D3F-8024-2676BC3A1ABA}"/>
          </ac:spMkLst>
        </pc:spChg>
        <pc:spChg chg="add mod">
          <ac:chgData name="Camilla Tang (CTA)" userId="4e9b8642-a180-48d0-bfd6-dc9ad090493e" providerId="ADAL" clId="{EC4D0D56-B06D-47F7-9784-581D4BD46BCD}" dt="2021-12-05T13:08:41.909" v="1025" actId="20577"/>
          <ac:spMkLst>
            <pc:docMk/>
            <pc:sldMk cId="659864761" sldId="358"/>
            <ac:spMk id="17" creationId="{9F0B54B2-3BCE-4EF9-A702-1EDD9EEC7E75}"/>
          </ac:spMkLst>
        </pc:spChg>
        <pc:spChg chg="add mod">
          <ac:chgData name="Camilla Tang (CTA)" userId="4e9b8642-a180-48d0-bfd6-dc9ad090493e" providerId="ADAL" clId="{EC4D0D56-B06D-47F7-9784-581D4BD46BCD}" dt="2021-12-05T13:09:04.386" v="1060" actId="20577"/>
          <ac:spMkLst>
            <pc:docMk/>
            <pc:sldMk cId="659864761" sldId="358"/>
            <ac:spMk id="18" creationId="{43B9B08F-5EDD-43D9-A65F-D678BE10021D}"/>
          </ac:spMkLst>
        </pc:spChg>
        <pc:spChg chg="add mod">
          <ac:chgData name="Camilla Tang (CTA)" userId="4e9b8642-a180-48d0-bfd6-dc9ad090493e" providerId="ADAL" clId="{EC4D0D56-B06D-47F7-9784-581D4BD46BCD}" dt="2021-12-05T13:09:00.383" v="1050" actId="1076"/>
          <ac:spMkLst>
            <pc:docMk/>
            <pc:sldMk cId="659864761" sldId="358"/>
            <ac:spMk id="19" creationId="{78253347-E7E5-4D6A-9EB2-67F519B31DFC}"/>
          </ac:spMkLst>
        </pc:spChg>
        <pc:spChg chg="add mod">
          <ac:chgData name="Camilla Tang (CTA)" userId="4e9b8642-a180-48d0-bfd6-dc9ad090493e" providerId="ADAL" clId="{EC4D0D56-B06D-47F7-9784-581D4BD46BCD}" dt="2021-12-05T13:09:14.519" v="1073" actId="1076"/>
          <ac:spMkLst>
            <pc:docMk/>
            <pc:sldMk cId="659864761" sldId="358"/>
            <ac:spMk id="20" creationId="{FDA5EFBB-1945-4CE1-BA59-18BF3E516343}"/>
          </ac:spMkLst>
        </pc:spChg>
        <pc:graphicFrameChg chg="add mod">
          <ac:chgData name="Camilla Tang (CTA)" userId="4e9b8642-a180-48d0-bfd6-dc9ad090493e" providerId="ADAL" clId="{EC4D0D56-B06D-47F7-9784-581D4BD46BCD}" dt="2021-12-05T10:36:00.995" v="937" actId="1076"/>
          <ac:graphicFrameMkLst>
            <pc:docMk/>
            <pc:sldMk cId="659864761" sldId="358"/>
            <ac:graphicFrameMk id="6" creationId="{BDDC1A7B-300E-489F-B458-E843A85CE9EC}"/>
          </ac:graphicFrameMkLst>
        </pc:graphicFrameChg>
        <pc:cxnChg chg="add mod">
          <ac:chgData name="Camilla Tang (CTA)" userId="4e9b8642-a180-48d0-bfd6-dc9ad090493e" providerId="ADAL" clId="{EC4D0D56-B06D-47F7-9784-581D4BD46BCD}" dt="2021-12-05T13:07:34.732" v="942" actId="1076"/>
          <ac:cxnSpMkLst>
            <pc:docMk/>
            <pc:sldMk cId="659864761" sldId="358"/>
            <ac:cxnSpMk id="13" creationId="{E60A98D8-B95B-41C2-9832-13AEE51AD96C}"/>
          </ac:cxnSpMkLst>
        </pc:cxnChg>
        <pc:cxnChg chg="add mod">
          <ac:chgData name="Camilla Tang (CTA)" userId="4e9b8642-a180-48d0-bfd6-dc9ad090493e" providerId="ADAL" clId="{EC4D0D56-B06D-47F7-9784-581D4BD46BCD}" dt="2021-12-05T13:07:34.732" v="942" actId="1076"/>
          <ac:cxnSpMkLst>
            <pc:docMk/>
            <pc:sldMk cId="659864761" sldId="358"/>
            <ac:cxnSpMk id="14" creationId="{619236C5-D498-4E79-B9B8-7C53F08515F3}"/>
          </ac:cxnSpMkLst>
        </pc:cxnChg>
      </pc:sldChg>
      <pc:sldChg chg="addSp delSp modSp new mod modAnim">
        <pc:chgData name="Camilla Tang (CTA)" userId="4e9b8642-a180-48d0-bfd6-dc9ad090493e" providerId="ADAL" clId="{EC4D0D56-B06D-47F7-9784-581D4BD46BCD}" dt="2021-12-05T13:25:34.400" v="1473" actId="1076"/>
        <pc:sldMkLst>
          <pc:docMk/>
          <pc:sldMk cId="114314173" sldId="359"/>
        </pc:sldMkLst>
        <pc:spChg chg="mod">
          <ac:chgData name="Camilla Tang (CTA)" userId="4e9b8642-a180-48d0-bfd6-dc9ad090493e" providerId="ADAL" clId="{EC4D0D56-B06D-47F7-9784-581D4BD46BCD}" dt="2021-12-03T14:55:20.710" v="157" actId="20577"/>
          <ac:spMkLst>
            <pc:docMk/>
            <pc:sldMk cId="114314173" sldId="359"/>
            <ac:spMk id="2" creationId="{FDACE83D-294A-4C7F-84EA-3676D357394C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7" creationId="{0E083A2F-75A1-4094-9127-AB74D8F372FC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8" creationId="{7C46D06D-A13E-4C1F-A190-D12E0B8C9CA5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9" creationId="{622FCB36-F344-43B9-B225-E2D9CC3F6DBA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11" creationId="{71FC5898-77FD-4726-9937-3B74406059F2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12" creationId="{F993186A-2EBC-4E9F-B92D-AD266B109601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13" creationId="{A6A868E4-4521-482E-864B-6FA23AD94F23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14" creationId="{F53F179F-5537-4B5B-B723-DD6E36336819}"/>
          </ac:spMkLst>
        </pc:spChg>
        <pc:spChg chg="add del mod">
          <ac:chgData name="Camilla Tang (CTA)" userId="4e9b8642-a180-48d0-bfd6-dc9ad090493e" providerId="ADAL" clId="{EC4D0D56-B06D-47F7-9784-581D4BD46BCD}" dt="2021-12-05T13:18:07.554" v="1155"/>
          <ac:spMkLst>
            <pc:docMk/>
            <pc:sldMk cId="114314173" sldId="359"/>
            <ac:spMk id="16" creationId="{894C1F02-7F6B-4494-9180-59B6D623C973}"/>
          </ac:spMkLst>
        </pc:spChg>
        <pc:spChg chg="add mod">
          <ac:chgData name="Camilla Tang (CTA)" userId="4e9b8642-a180-48d0-bfd6-dc9ad090493e" providerId="ADAL" clId="{EC4D0D56-B06D-47F7-9784-581D4BD46BCD}" dt="2021-12-05T13:18:30.858" v="1160" actId="14100"/>
          <ac:spMkLst>
            <pc:docMk/>
            <pc:sldMk cId="114314173" sldId="359"/>
            <ac:spMk id="19" creationId="{5E149F7B-9AF9-4715-9315-BFE8FDE4331C}"/>
          </ac:spMkLst>
        </pc:spChg>
        <pc:spChg chg="add mod">
          <ac:chgData name="Camilla Tang (CTA)" userId="4e9b8642-a180-48d0-bfd6-dc9ad090493e" providerId="ADAL" clId="{EC4D0D56-B06D-47F7-9784-581D4BD46BCD}" dt="2021-12-05T13:25:31.153" v="1472" actId="14100"/>
          <ac:spMkLst>
            <pc:docMk/>
            <pc:sldMk cId="114314173" sldId="359"/>
            <ac:spMk id="20" creationId="{B85404CF-A4F8-4F44-B0FC-A7D9C28A17A7}"/>
          </ac:spMkLst>
        </pc:spChg>
        <pc:spChg chg="add mod">
          <ac:chgData name="Camilla Tang (CTA)" userId="4e9b8642-a180-48d0-bfd6-dc9ad090493e" providerId="ADAL" clId="{EC4D0D56-B06D-47F7-9784-581D4BD46BCD}" dt="2021-12-05T13:25:34.400" v="1473" actId="1076"/>
          <ac:spMkLst>
            <pc:docMk/>
            <pc:sldMk cId="114314173" sldId="359"/>
            <ac:spMk id="21" creationId="{74ABD742-D18F-44FE-8008-42B9F5122D7C}"/>
          </ac:spMkLst>
        </pc:spChg>
        <pc:spChg chg="add mod">
          <ac:chgData name="Camilla Tang (CTA)" userId="4e9b8642-a180-48d0-bfd6-dc9ad090493e" providerId="ADAL" clId="{EC4D0D56-B06D-47F7-9784-581D4BD46BCD}" dt="2021-12-05T13:23:19.460" v="1300" actId="1076"/>
          <ac:spMkLst>
            <pc:docMk/>
            <pc:sldMk cId="114314173" sldId="359"/>
            <ac:spMk id="23" creationId="{7525D659-D25E-4E91-8C75-458EF77BD13B}"/>
          </ac:spMkLst>
        </pc:spChg>
        <pc:spChg chg="add mod">
          <ac:chgData name="Camilla Tang (CTA)" userId="4e9b8642-a180-48d0-bfd6-dc9ad090493e" providerId="ADAL" clId="{EC4D0D56-B06D-47F7-9784-581D4BD46BCD}" dt="2021-12-05T13:24:00.326" v="1366" actId="1076"/>
          <ac:spMkLst>
            <pc:docMk/>
            <pc:sldMk cId="114314173" sldId="359"/>
            <ac:spMk id="24" creationId="{BF0DD195-6622-4D53-A4AF-423FD5F4575B}"/>
          </ac:spMkLst>
        </pc:spChg>
        <pc:spChg chg="add mod">
          <ac:chgData name="Camilla Tang (CTA)" userId="4e9b8642-a180-48d0-bfd6-dc9ad090493e" providerId="ADAL" clId="{EC4D0D56-B06D-47F7-9784-581D4BD46BCD}" dt="2021-12-05T13:24:11.412" v="1377" actId="1076"/>
          <ac:spMkLst>
            <pc:docMk/>
            <pc:sldMk cId="114314173" sldId="359"/>
            <ac:spMk id="25" creationId="{941583BD-BD92-4535-8249-48B131098341}"/>
          </ac:spMkLst>
        </pc:spChg>
        <pc:spChg chg="add mod">
          <ac:chgData name="Camilla Tang (CTA)" userId="4e9b8642-a180-48d0-bfd6-dc9ad090493e" providerId="ADAL" clId="{EC4D0D56-B06D-47F7-9784-581D4BD46BCD}" dt="2021-12-05T13:22:32.434" v="1222" actId="14100"/>
          <ac:spMkLst>
            <pc:docMk/>
            <pc:sldMk cId="114314173" sldId="359"/>
            <ac:spMk id="26" creationId="{71D18912-D995-4AE0-A4A6-7450A2BC326B}"/>
          </ac:spMkLst>
        </pc:spChg>
        <pc:spChg chg="add mod">
          <ac:chgData name="Camilla Tang (CTA)" userId="4e9b8642-a180-48d0-bfd6-dc9ad090493e" providerId="ADAL" clId="{EC4D0D56-B06D-47F7-9784-581D4BD46BCD}" dt="2021-12-05T13:23:44.824" v="1354" actId="20577"/>
          <ac:spMkLst>
            <pc:docMk/>
            <pc:sldMk cId="114314173" sldId="359"/>
            <ac:spMk id="28" creationId="{50EAD95C-C242-443A-86DB-0C88E519DB8C}"/>
          </ac:spMkLst>
        </pc:spChg>
        <pc:spChg chg="add mod">
          <ac:chgData name="Camilla Tang (CTA)" userId="4e9b8642-a180-48d0-bfd6-dc9ad090493e" providerId="ADAL" clId="{EC4D0D56-B06D-47F7-9784-581D4BD46BCD}" dt="2021-12-05T13:24:43.346" v="1440" actId="14100"/>
          <ac:spMkLst>
            <pc:docMk/>
            <pc:sldMk cId="114314173" sldId="359"/>
            <ac:spMk id="30" creationId="{A82F118B-4C22-48F3-92FA-6FEBF499C59D}"/>
          </ac:spMkLst>
        </pc:spChg>
        <pc:spChg chg="add mod">
          <ac:chgData name="Camilla Tang (CTA)" userId="4e9b8642-a180-48d0-bfd6-dc9ad090493e" providerId="ADAL" clId="{EC4D0D56-B06D-47F7-9784-581D4BD46BCD}" dt="2021-12-05T13:24:57.744" v="1453" actId="1076"/>
          <ac:spMkLst>
            <pc:docMk/>
            <pc:sldMk cId="114314173" sldId="359"/>
            <ac:spMk id="31" creationId="{68C2C8A7-15CB-48FF-977C-FB00C7C3F364}"/>
          </ac:spMkLst>
        </pc:spChg>
        <pc:spChg chg="add mod">
          <ac:chgData name="Camilla Tang (CTA)" userId="4e9b8642-a180-48d0-bfd6-dc9ad090493e" providerId="ADAL" clId="{EC4D0D56-B06D-47F7-9784-581D4BD46BCD}" dt="2021-12-05T13:25:09.256" v="1470" actId="1076"/>
          <ac:spMkLst>
            <pc:docMk/>
            <pc:sldMk cId="114314173" sldId="359"/>
            <ac:spMk id="32" creationId="{5F6B1D4F-9B12-47AC-AECC-E5A985D1B7C9}"/>
          </ac:spMkLst>
        </pc:spChg>
        <pc:picChg chg="add del mod">
          <ac:chgData name="Camilla Tang (CTA)" userId="4e9b8642-a180-48d0-bfd6-dc9ad090493e" providerId="ADAL" clId="{EC4D0D56-B06D-47F7-9784-581D4BD46BCD}" dt="2021-12-05T13:18:07.554" v="1155"/>
          <ac:picMkLst>
            <pc:docMk/>
            <pc:sldMk cId="114314173" sldId="359"/>
            <ac:picMk id="6" creationId="{8780E4AC-C68C-435B-AAC3-4B2375B3BC28}"/>
          </ac:picMkLst>
        </pc:picChg>
        <pc:picChg chg="add del mod">
          <ac:chgData name="Camilla Tang (CTA)" userId="4e9b8642-a180-48d0-bfd6-dc9ad090493e" providerId="ADAL" clId="{EC4D0D56-B06D-47F7-9784-581D4BD46BCD}" dt="2021-12-05T13:18:07.554" v="1155"/>
          <ac:picMkLst>
            <pc:docMk/>
            <pc:sldMk cId="114314173" sldId="359"/>
            <ac:picMk id="10" creationId="{B0997337-5C25-4549-94ED-F3BAE4E5010E}"/>
          </ac:picMkLst>
        </pc:picChg>
        <pc:picChg chg="add mod">
          <ac:chgData name="Camilla Tang (CTA)" userId="4e9b8642-a180-48d0-bfd6-dc9ad090493e" providerId="ADAL" clId="{EC4D0D56-B06D-47F7-9784-581D4BD46BCD}" dt="2021-12-05T13:23:49.758" v="1355" actId="1076"/>
          <ac:picMkLst>
            <pc:docMk/>
            <pc:sldMk cId="114314173" sldId="359"/>
            <ac:picMk id="18" creationId="{3005EB31-19FF-4951-984F-F9E8DBC79889}"/>
          </ac:picMkLst>
        </pc:picChg>
        <pc:picChg chg="add mod">
          <ac:chgData name="Camilla Tang (CTA)" userId="4e9b8642-a180-48d0-bfd6-dc9ad090493e" providerId="ADAL" clId="{EC4D0D56-B06D-47F7-9784-581D4BD46BCD}" dt="2021-12-05T13:23:24.878" v="1301" actId="1076"/>
          <ac:picMkLst>
            <pc:docMk/>
            <pc:sldMk cId="114314173" sldId="359"/>
            <ac:picMk id="22" creationId="{2DCEEC3F-879D-4A83-9F7D-D44CD0828F90}"/>
          </ac:picMkLst>
        </pc:picChg>
        <pc:cxnChg chg="add del mod">
          <ac:chgData name="Camilla Tang (CTA)" userId="4e9b8642-a180-48d0-bfd6-dc9ad090493e" providerId="ADAL" clId="{EC4D0D56-B06D-47F7-9784-581D4BD46BCD}" dt="2021-12-05T13:18:07.554" v="1155"/>
          <ac:cxnSpMkLst>
            <pc:docMk/>
            <pc:sldMk cId="114314173" sldId="359"/>
            <ac:cxnSpMk id="15" creationId="{E9EE7439-4441-48B0-8A06-53092FB61AA8}"/>
          </ac:cxnSpMkLst>
        </pc:cxnChg>
        <pc:cxnChg chg="add del mod">
          <ac:chgData name="Camilla Tang (CTA)" userId="4e9b8642-a180-48d0-bfd6-dc9ad090493e" providerId="ADAL" clId="{EC4D0D56-B06D-47F7-9784-581D4BD46BCD}" dt="2021-12-05T13:18:07.554" v="1155"/>
          <ac:cxnSpMkLst>
            <pc:docMk/>
            <pc:sldMk cId="114314173" sldId="359"/>
            <ac:cxnSpMk id="17" creationId="{11D18D7B-E478-4F43-A3BF-D4FACDA9CA20}"/>
          </ac:cxnSpMkLst>
        </pc:cxnChg>
        <pc:cxnChg chg="add mod">
          <ac:chgData name="Camilla Tang (CTA)" userId="4e9b8642-a180-48d0-bfd6-dc9ad090493e" providerId="ADAL" clId="{EC4D0D56-B06D-47F7-9784-581D4BD46BCD}" dt="2021-12-05T13:23:16.427" v="1299" actId="1076"/>
          <ac:cxnSpMkLst>
            <pc:docMk/>
            <pc:sldMk cId="114314173" sldId="359"/>
            <ac:cxnSpMk id="27" creationId="{E91A0C0D-0D23-4EDB-AFEC-F600711EFECF}"/>
          </ac:cxnSpMkLst>
        </pc:cxnChg>
        <pc:cxnChg chg="add mod">
          <ac:chgData name="Camilla Tang (CTA)" userId="4e9b8642-a180-48d0-bfd6-dc9ad090493e" providerId="ADAL" clId="{EC4D0D56-B06D-47F7-9784-581D4BD46BCD}" dt="2021-12-05T13:23:30.938" v="1302" actId="1076"/>
          <ac:cxnSpMkLst>
            <pc:docMk/>
            <pc:sldMk cId="114314173" sldId="359"/>
            <ac:cxnSpMk id="29" creationId="{DEDF30BF-7AEC-4C95-A410-6102755FF5C6}"/>
          </ac:cxnSpMkLst>
        </pc:cxnChg>
      </pc:sldChg>
      <pc:sldChg chg="addSp delSp modSp new mod modAnim">
        <pc:chgData name="Camilla Tang (CTA)" userId="4e9b8642-a180-48d0-bfd6-dc9ad090493e" providerId="ADAL" clId="{EC4D0D56-B06D-47F7-9784-581D4BD46BCD}" dt="2021-12-06T10:30:54.229" v="2014" actId="1076"/>
        <pc:sldMkLst>
          <pc:docMk/>
          <pc:sldMk cId="113589976" sldId="360"/>
        </pc:sldMkLst>
        <pc:spChg chg="mod">
          <ac:chgData name="Camilla Tang (CTA)" userId="4e9b8642-a180-48d0-bfd6-dc9ad090493e" providerId="ADAL" clId="{EC4D0D56-B06D-47F7-9784-581D4BD46BCD}" dt="2021-12-05T10:17:22.665" v="853" actId="20577"/>
          <ac:spMkLst>
            <pc:docMk/>
            <pc:sldMk cId="113589976" sldId="360"/>
            <ac:spMk id="2" creationId="{0C772C24-CF3E-4C64-931B-EDD7EA89A2E6}"/>
          </ac:spMkLst>
        </pc:spChg>
        <pc:spChg chg="del mod">
          <ac:chgData name="Camilla Tang (CTA)" userId="4e9b8642-a180-48d0-bfd6-dc9ad090493e" providerId="ADAL" clId="{EC4D0D56-B06D-47F7-9784-581D4BD46BCD}" dt="2021-12-05T13:28:12.288" v="1481" actId="478"/>
          <ac:spMkLst>
            <pc:docMk/>
            <pc:sldMk cId="113589976" sldId="360"/>
            <ac:spMk id="3" creationId="{934C9BA1-C530-4877-AD3E-272B2FB1BCB3}"/>
          </ac:spMkLst>
        </pc:spChg>
        <pc:spChg chg="add mod">
          <ac:chgData name="Camilla Tang (CTA)" userId="4e9b8642-a180-48d0-bfd6-dc9ad090493e" providerId="ADAL" clId="{EC4D0D56-B06D-47F7-9784-581D4BD46BCD}" dt="2021-12-05T13:28:27.585" v="1502" actId="1076"/>
          <ac:spMkLst>
            <pc:docMk/>
            <pc:sldMk cId="113589976" sldId="360"/>
            <ac:spMk id="8" creationId="{C69DB379-8D7B-42C2-B837-3331D0780F8B}"/>
          </ac:spMkLst>
        </pc:spChg>
        <pc:picChg chg="add mod">
          <ac:chgData name="Camilla Tang (CTA)" userId="4e9b8642-a180-48d0-bfd6-dc9ad090493e" providerId="ADAL" clId="{EC4D0D56-B06D-47F7-9784-581D4BD46BCD}" dt="2021-12-06T10:30:54.229" v="2014" actId="1076"/>
          <ac:picMkLst>
            <pc:docMk/>
            <pc:sldMk cId="113589976" sldId="360"/>
            <ac:picMk id="6" creationId="{1CBE2BF4-36D5-4CDC-A8B4-222F1074C47F}"/>
          </ac:picMkLst>
        </pc:picChg>
        <pc:picChg chg="add mod">
          <ac:chgData name="Camilla Tang (CTA)" userId="4e9b8642-a180-48d0-bfd6-dc9ad090493e" providerId="ADAL" clId="{EC4D0D56-B06D-47F7-9784-581D4BD46BCD}" dt="2021-12-06T10:30:54.229" v="2014" actId="1076"/>
          <ac:picMkLst>
            <pc:docMk/>
            <pc:sldMk cId="113589976" sldId="360"/>
            <ac:picMk id="7" creationId="{47B1A5B5-18C2-46DD-BEBC-0DB56C537AFD}"/>
          </ac:picMkLst>
        </pc:picChg>
      </pc:sldChg>
      <pc:sldChg chg="add del">
        <pc:chgData name="Camilla Tang (CTA)" userId="4e9b8642-a180-48d0-bfd6-dc9ad090493e" providerId="ADAL" clId="{EC4D0D56-B06D-47F7-9784-581D4BD46BCD}" dt="2021-12-05T09:37:01.178" v="242" actId="2890"/>
        <pc:sldMkLst>
          <pc:docMk/>
          <pc:sldMk cId="222845898" sldId="360"/>
        </pc:sldMkLst>
      </pc:sldChg>
      <pc:sldMasterChg chg="delSldLayout">
        <pc:chgData name="Camilla Tang (CTA)" userId="4e9b8642-a180-48d0-bfd6-dc9ad090493e" providerId="ADAL" clId="{EC4D0D56-B06D-47F7-9784-581D4BD46BCD}" dt="2021-12-03T13:17:53.692" v="92" actId="47"/>
        <pc:sldMasterMkLst>
          <pc:docMk/>
          <pc:sldMasterMk cId="2971788584" sldId="2147484524"/>
        </pc:sldMasterMkLst>
        <pc:sldLayoutChg chg="del">
          <pc:chgData name="Camilla Tang (CTA)" userId="4e9b8642-a180-48d0-bfd6-dc9ad090493e" providerId="ADAL" clId="{EC4D0D56-B06D-47F7-9784-581D4BD46BCD}" dt="2021-12-03T13:17:53.692" v="92" actId="47"/>
          <pc:sldLayoutMkLst>
            <pc:docMk/>
            <pc:sldMasterMk cId="2971788584" sldId="2147484524"/>
            <pc:sldLayoutMk cId="3532268385" sldId="2147484557"/>
          </pc:sldLayoutMkLst>
        </pc:sldLayoutChg>
      </pc:sldMasterChg>
      <pc:sldMasterChg chg="modSldLayout">
        <pc:chgData name="Camilla Tang (CTA)" userId="4e9b8642-a180-48d0-bfd6-dc9ad090493e" providerId="ADAL" clId="{EC4D0D56-B06D-47F7-9784-581D4BD46BCD}" dt="2021-12-06T08:24:40.183" v="1941" actId="20577"/>
        <pc:sldMasterMkLst>
          <pc:docMk/>
          <pc:sldMasterMk cId="831989800" sldId="2147484558"/>
        </pc:sldMasterMkLst>
        <pc:sldLayoutChg chg="modSp mod">
          <pc:chgData name="Camilla Tang (CTA)" userId="4e9b8642-a180-48d0-bfd6-dc9ad090493e" providerId="ADAL" clId="{EC4D0D56-B06D-47F7-9784-581D4BD46BCD}" dt="2021-12-06T08:24:40.027" v="1903" actId="20577"/>
          <pc:sldLayoutMkLst>
            <pc:docMk/>
            <pc:sldMasterMk cId="831989800" sldId="2147484558"/>
            <pc:sldLayoutMk cId="3511061573" sldId="2147484559"/>
          </pc:sldLayoutMkLst>
          <pc:spChg chg="mod">
            <ac:chgData name="Camilla Tang (CTA)" userId="4e9b8642-a180-48d0-bfd6-dc9ad090493e" providerId="ADAL" clId="{EC4D0D56-B06D-47F7-9784-581D4BD46BCD}" dt="2021-12-06T08:24:40.025" v="1902" actId="20577"/>
            <ac:spMkLst>
              <pc:docMk/>
              <pc:sldMasterMk cId="831989800" sldId="2147484558"/>
              <pc:sldLayoutMk cId="3511061573" sldId="2147484559"/>
              <ac:spMk id="9" creationId="{060123AB-F4EB-41F1-8A94-975FBA3A89B4}"/>
            </ac:spMkLst>
          </pc:spChg>
          <pc:spChg chg="mod">
            <ac:chgData name="Camilla Tang (CTA)" userId="4e9b8642-a180-48d0-bfd6-dc9ad090493e" providerId="ADAL" clId="{EC4D0D56-B06D-47F7-9784-581D4BD46BCD}" dt="2021-12-06T08:24:40.027" v="1903" actId="20577"/>
            <ac:spMkLst>
              <pc:docMk/>
              <pc:sldMasterMk cId="831989800" sldId="2147484558"/>
              <pc:sldLayoutMk cId="3511061573" sldId="2147484559"/>
              <ac:spMk id="10" creationId="{290CAE4A-FCB0-4B2A-BC7D-C8588C6DA304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32" v="1905" actId="20577"/>
          <pc:sldLayoutMkLst>
            <pc:docMk/>
            <pc:sldMasterMk cId="831989800" sldId="2147484558"/>
            <pc:sldLayoutMk cId="621132134" sldId="2147484560"/>
          </pc:sldLayoutMkLst>
          <pc:spChg chg="mod">
            <ac:chgData name="Camilla Tang (CTA)" userId="4e9b8642-a180-48d0-bfd6-dc9ad090493e" providerId="ADAL" clId="{EC4D0D56-B06D-47F7-9784-581D4BD46BCD}" dt="2021-12-06T08:24:40.030" v="1904" actId="20577"/>
            <ac:spMkLst>
              <pc:docMk/>
              <pc:sldMasterMk cId="831989800" sldId="2147484558"/>
              <pc:sldLayoutMk cId="621132134" sldId="2147484560"/>
              <ac:spMk id="10" creationId="{ED3E1516-5485-4675-B57A-EF5738477CDF}"/>
            </ac:spMkLst>
          </pc:spChg>
          <pc:spChg chg="mod">
            <ac:chgData name="Camilla Tang (CTA)" userId="4e9b8642-a180-48d0-bfd6-dc9ad090493e" providerId="ADAL" clId="{EC4D0D56-B06D-47F7-9784-581D4BD46BCD}" dt="2021-12-06T08:24:40.032" v="1905" actId="20577"/>
            <ac:spMkLst>
              <pc:docMk/>
              <pc:sldMasterMk cId="831989800" sldId="2147484558"/>
              <pc:sldLayoutMk cId="621132134" sldId="2147484560"/>
              <ac:spMk id="13" creationId="{B5C8AE91-1F54-4289-B79C-90576F95A189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35" v="1907" actId="20577"/>
          <pc:sldLayoutMkLst>
            <pc:docMk/>
            <pc:sldMasterMk cId="831989800" sldId="2147484558"/>
            <pc:sldLayoutMk cId="4152859255" sldId="2147484561"/>
          </pc:sldLayoutMkLst>
          <pc:spChg chg="mod">
            <ac:chgData name="Camilla Tang (CTA)" userId="4e9b8642-a180-48d0-bfd6-dc9ad090493e" providerId="ADAL" clId="{EC4D0D56-B06D-47F7-9784-581D4BD46BCD}" dt="2021-12-06T08:24:40.034" v="1906" actId="20577"/>
            <ac:spMkLst>
              <pc:docMk/>
              <pc:sldMasterMk cId="831989800" sldId="2147484558"/>
              <pc:sldLayoutMk cId="4152859255" sldId="2147484561"/>
              <ac:spMk id="6" creationId="{BE201D6F-6040-4CB9-8CBB-46BD87A3BFB4}"/>
            </ac:spMkLst>
          </pc:spChg>
          <pc:spChg chg="mod">
            <ac:chgData name="Camilla Tang (CTA)" userId="4e9b8642-a180-48d0-bfd6-dc9ad090493e" providerId="ADAL" clId="{EC4D0D56-B06D-47F7-9784-581D4BD46BCD}" dt="2021-12-06T08:24:40.035" v="1907" actId="20577"/>
            <ac:spMkLst>
              <pc:docMk/>
              <pc:sldMasterMk cId="831989800" sldId="2147484558"/>
              <pc:sldLayoutMk cId="4152859255" sldId="2147484561"/>
              <ac:spMk id="8" creationId="{E65EEEC3-E28B-426D-9551-F8943DAFB4FE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42" v="1909" actId="20577"/>
          <pc:sldLayoutMkLst>
            <pc:docMk/>
            <pc:sldMasterMk cId="831989800" sldId="2147484558"/>
            <pc:sldLayoutMk cId="4128087629" sldId="2147484562"/>
          </pc:sldLayoutMkLst>
          <pc:spChg chg="mod">
            <ac:chgData name="Camilla Tang (CTA)" userId="4e9b8642-a180-48d0-bfd6-dc9ad090493e" providerId="ADAL" clId="{EC4D0D56-B06D-47F7-9784-581D4BD46BCD}" dt="2021-12-06T08:24:40.039" v="1908" actId="20577"/>
            <ac:spMkLst>
              <pc:docMk/>
              <pc:sldMasterMk cId="831989800" sldId="2147484558"/>
              <pc:sldLayoutMk cId="4128087629" sldId="2147484562"/>
              <ac:spMk id="12" creationId="{FD6C9617-2017-4978-A566-C2160F7CD75A}"/>
            </ac:spMkLst>
          </pc:spChg>
          <pc:spChg chg="mod">
            <ac:chgData name="Camilla Tang (CTA)" userId="4e9b8642-a180-48d0-bfd6-dc9ad090493e" providerId="ADAL" clId="{EC4D0D56-B06D-47F7-9784-581D4BD46BCD}" dt="2021-12-06T08:24:40.042" v="1909" actId="20577"/>
            <ac:spMkLst>
              <pc:docMk/>
              <pc:sldMasterMk cId="831989800" sldId="2147484558"/>
              <pc:sldLayoutMk cId="4128087629" sldId="2147484562"/>
              <ac:spMk id="13" creationId="{6897EAFE-1E66-4485-A97A-686729CA38D3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46" v="1911" actId="20577"/>
          <pc:sldLayoutMkLst>
            <pc:docMk/>
            <pc:sldMasterMk cId="831989800" sldId="2147484558"/>
            <pc:sldLayoutMk cId="4211960609" sldId="2147484563"/>
          </pc:sldLayoutMkLst>
          <pc:spChg chg="mod">
            <ac:chgData name="Camilla Tang (CTA)" userId="4e9b8642-a180-48d0-bfd6-dc9ad090493e" providerId="ADAL" clId="{EC4D0D56-B06D-47F7-9784-581D4BD46BCD}" dt="2021-12-06T08:24:40.045" v="1910" actId="20577"/>
            <ac:spMkLst>
              <pc:docMk/>
              <pc:sldMasterMk cId="831989800" sldId="2147484558"/>
              <pc:sldLayoutMk cId="4211960609" sldId="2147484563"/>
              <ac:spMk id="12" creationId="{915A5073-3A8E-4ED0-8F3C-1EA26B9BAE0C}"/>
            </ac:spMkLst>
          </pc:spChg>
          <pc:spChg chg="mod">
            <ac:chgData name="Camilla Tang (CTA)" userId="4e9b8642-a180-48d0-bfd6-dc9ad090493e" providerId="ADAL" clId="{EC4D0D56-B06D-47F7-9784-581D4BD46BCD}" dt="2021-12-06T08:24:40.046" v="1911" actId="20577"/>
            <ac:spMkLst>
              <pc:docMk/>
              <pc:sldMasterMk cId="831989800" sldId="2147484558"/>
              <pc:sldLayoutMk cId="4211960609" sldId="2147484563"/>
              <ac:spMk id="13" creationId="{1512550E-157B-4B1A-9A42-9C8FB8D9E2F2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51" v="1913" actId="20577"/>
          <pc:sldLayoutMkLst>
            <pc:docMk/>
            <pc:sldMasterMk cId="831989800" sldId="2147484558"/>
            <pc:sldLayoutMk cId="2905384484" sldId="2147484564"/>
          </pc:sldLayoutMkLst>
          <pc:spChg chg="mod">
            <ac:chgData name="Camilla Tang (CTA)" userId="4e9b8642-a180-48d0-bfd6-dc9ad090493e" providerId="ADAL" clId="{EC4D0D56-B06D-47F7-9784-581D4BD46BCD}" dt="2021-12-06T08:24:40.051" v="1913" actId="20577"/>
            <ac:spMkLst>
              <pc:docMk/>
              <pc:sldMasterMk cId="831989800" sldId="2147484558"/>
              <pc:sldLayoutMk cId="2905384484" sldId="2147484564"/>
              <ac:spMk id="9" creationId="{C394B6E7-E767-42C4-98F9-42CAD7DC8592}"/>
            </ac:spMkLst>
          </pc:spChg>
          <pc:spChg chg="mod">
            <ac:chgData name="Camilla Tang (CTA)" userId="4e9b8642-a180-48d0-bfd6-dc9ad090493e" providerId="ADAL" clId="{EC4D0D56-B06D-47F7-9784-581D4BD46BCD}" dt="2021-12-06T08:24:40.049" v="1912" actId="20577"/>
            <ac:spMkLst>
              <pc:docMk/>
              <pc:sldMasterMk cId="831989800" sldId="2147484558"/>
              <pc:sldLayoutMk cId="2905384484" sldId="2147484564"/>
              <ac:spMk id="11" creationId="{BA87D010-AD08-4BF7-A549-296E0AC0C341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56" v="1915" actId="20577"/>
          <pc:sldLayoutMkLst>
            <pc:docMk/>
            <pc:sldMasterMk cId="831989800" sldId="2147484558"/>
            <pc:sldLayoutMk cId="908144790" sldId="2147484565"/>
          </pc:sldLayoutMkLst>
          <pc:spChg chg="mod">
            <ac:chgData name="Camilla Tang (CTA)" userId="4e9b8642-a180-48d0-bfd6-dc9ad090493e" providerId="ADAL" clId="{EC4D0D56-B06D-47F7-9784-581D4BD46BCD}" dt="2021-12-06T08:24:40.054" v="1914" actId="20577"/>
            <ac:spMkLst>
              <pc:docMk/>
              <pc:sldMasterMk cId="831989800" sldId="2147484558"/>
              <pc:sldLayoutMk cId="908144790" sldId="2147484565"/>
              <ac:spMk id="9" creationId="{9A033383-F554-4B63-B1DE-AC28B6D6D26B}"/>
            </ac:spMkLst>
          </pc:spChg>
          <pc:spChg chg="mod">
            <ac:chgData name="Camilla Tang (CTA)" userId="4e9b8642-a180-48d0-bfd6-dc9ad090493e" providerId="ADAL" clId="{EC4D0D56-B06D-47F7-9784-581D4BD46BCD}" dt="2021-12-06T08:24:40.056" v="1915" actId="20577"/>
            <ac:spMkLst>
              <pc:docMk/>
              <pc:sldMasterMk cId="831989800" sldId="2147484558"/>
              <pc:sldLayoutMk cId="908144790" sldId="2147484565"/>
              <ac:spMk id="10" creationId="{3DAC8923-5839-4118-8C81-0AE0C0168462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62" v="1917" actId="20577"/>
          <pc:sldLayoutMkLst>
            <pc:docMk/>
            <pc:sldMasterMk cId="831989800" sldId="2147484558"/>
            <pc:sldLayoutMk cId="833267881" sldId="2147484566"/>
          </pc:sldLayoutMkLst>
          <pc:spChg chg="mod">
            <ac:chgData name="Camilla Tang (CTA)" userId="4e9b8642-a180-48d0-bfd6-dc9ad090493e" providerId="ADAL" clId="{EC4D0D56-B06D-47F7-9784-581D4BD46BCD}" dt="2021-12-06T08:24:40.060" v="1916" actId="20577"/>
            <ac:spMkLst>
              <pc:docMk/>
              <pc:sldMasterMk cId="831989800" sldId="2147484558"/>
              <pc:sldLayoutMk cId="833267881" sldId="2147484566"/>
              <ac:spMk id="31" creationId="{825FB020-B420-4BC6-8401-E7675810B46E}"/>
            </ac:spMkLst>
          </pc:spChg>
          <pc:spChg chg="mod">
            <ac:chgData name="Camilla Tang (CTA)" userId="4e9b8642-a180-48d0-bfd6-dc9ad090493e" providerId="ADAL" clId="{EC4D0D56-B06D-47F7-9784-581D4BD46BCD}" dt="2021-12-06T08:24:40.062" v="1917" actId="20577"/>
            <ac:spMkLst>
              <pc:docMk/>
              <pc:sldMasterMk cId="831989800" sldId="2147484558"/>
              <pc:sldLayoutMk cId="833267881" sldId="2147484566"/>
              <ac:spMk id="33" creationId="{197D707A-0EE8-407F-A04F-58A14F75875D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67" v="1919" actId="20577"/>
          <pc:sldLayoutMkLst>
            <pc:docMk/>
            <pc:sldMasterMk cId="831989800" sldId="2147484558"/>
            <pc:sldLayoutMk cId="1436485236" sldId="2147484567"/>
          </pc:sldLayoutMkLst>
          <pc:spChg chg="mod">
            <ac:chgData name="Camilla Tang (CTA)" userId="4e9b8642-a180-48d0-bfd6-dc9ad090493e" providerId="ADAL" clId="{EC4D0D56-B06D-47F7-9784-581D4BD46BCD}" dt="2021-12-06T08:24:40.066" v="1918" actId="20577"/>
            <ac:spMkLst>
              <pc:docMk/>
              <pc:sldMasterMk cId="831989800" sldId="2147484558"/>
              <pc:sldLayoutMk cId="1436485236" sldId="2147484567"/>
              <ac:spMk id="40" creationId="{504B94C4-7D46-403E-BD16-F98FEE3DB55A}"/>
            </ac:spMkLst>
          </pc:spChg>
          <pc:spChg chg="mod">
            <ac:chgData name="Camilla Tang (CTA)" userId="4e9b8642-a180-48d0-bfd6-dc9ad090493e" providerId="ADAL" clId="{EC4D0D56-B06D-47F7-9784-581D4BD46BCD}" dt="2021-12-06T08:24:40.067" v="1919" actId="20577"/>
            <ac:spMkLst>
              <pc:docMk/>
              <pc:sldMasterMk cId="831989800" sldId="2147484558"/>
              <pc:sldLayoutMk cId="1436485236" sldId="2147484567"/>
              <ac:spMk id="54" creationId="{2A019DAD-8DE5-406F-845B-64AC2E62F18E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75" v="1921" actId="20577"/>
          <pc:sldLayoutMkLst>
            <pc:docMk/>
            <pc:sldMasterMk cId="831989800" sldId="2147484558"/>
            <pc:sldLayoutMk cId="3899037023" sldId="2147484568"/>
          </pc:sldLayoutMkLst>
          <pc:spChg chg="mod">
            <ac:chgData name="Camilla Tang (CTA)" userId="4e9b8642-a180-48d0-bfd6-dc9ad090493e" providerId="ADAL" clId="{EC4D0D56-B06D-47F7-9784-581D4BD46BCD}" dt="2021-12-06T08:24:40.072" v="1920" actId="20577"/>
            <ac:spMkLst>
              <pc:docMk/>
              <pc:sldMasterMk cId="831989800" sldId="2147484558"/>
              <pc:sldLayoutMk cId="3899037023" sldId="2147484568"/>
              <ac:spMk id="26" creationId="{F1B5855C-E9C3-42C9-9006-FDE0A985997B}"/>
            </ac:spMkLst>
          </pc:spChg>
          <pc:spChg chg="mod">
            <ac:chgData name="Camilla Tang (CTA)" userId="4e9b8642-a180-48d0-bfd6-dc9ad090493e" providerId="ADAL" clId="{EC4D0D56-B06D-47F7-9784-581D4BD46BCD}" dt="2021-12-06T08:24:40.075" v="1921" actId="20577"/>
            <ac:spMkLst>
              <pc:docMk/>
              <pc:sldMasterMk cId="831989800" sldId="2147484558"/>
              <pc:sldLayoutMk cId="3899037023" sldId="2147484568"/>
              <ac:spMk id="27" creationId="{FE290FC9-CF23-4A36-ABEA-616983FD2AD6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79" v="1923" actId="20577"/>
          <pc:sldLayoutMkLst>
            <pc:docMk/>
            <pc:sldMasterMk cId="831989800" sldId="2147484558"/>
            <pc:sldLayoutMk cId="1865401669" sldId="2147484569"/>
          </pc:sldLayoutMkLst>
          <pc:spChg chg="mod">
            <ac:chgData name="Camilla Tang (CTA)" userId="4e9b8642-a180-48d0-bfd6-dc9ad090493e" providerId="ADAL" clId="{EC4D0D56-B06D-47F7-9784-581D4BD46BCD}" dt="2021-12-06T08:24:40.078" v="1922" actId="20577"/>
            <ac:spMkLst>
              <pc:docMk/>
              <pc:sldMasterMk cId="831989800" sldId="2147484558"/>
              <pc:sldLayoutMk cId="1865401669" sldId="2147484569"/>
              <ac:spMk id="12" creationId="{60DF5F64-6A32-40D9-9038-F59E3C381981}"/>
            </ac:spMkLst>
          </pc:spChg>
          <pc:spChg chg="mod">
            <ac:chgData name="Camilla Tang (CTA)" userId="4e9b8642-a180-48d0-bfd6-dc9ad090493e" providerId="ADAL" clId="{EC4D0D56-B06D-47F7-9784-581D4BD46BCD}" dt="2021-12-06T08:24:40.079" v="1923" actId="20577"/>
            <ac:spMkLst>
              <pc:docMk/>
              <pc:sldMasterMk cId="831989800" sldId="2147484558"/>
              <pc:sldLayoutMk cId="1865401669" sldId="2147484569"/>
              <ac:spMk id="13" creationId="{24DA05C1-8E62-4E0A-97DA-E045EDFB1CCE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84" v="1925" actId="20577"/>
          <pc:sldLayoutMkLst>
            <pc:docMk/>
            <pc:sldMasterMk cId="831989800" sldId="2147484558"/>
            <pc:sldLayoutMk cId="618796467" sldId="2147484570"/>
          </pc:sldLayoutMkLst>
          <pc:spChg chg="mod">
            <ac:chgData name="Camilla Tang (CTA)" userId="4e9b8642-a180-48d0-bfd6-dc9ad090493e" providerId="ADAL" clId="{EC4D0D56-B06D-47F7-9784-581D4BD46BCD}" dt="2021-12-06T08:24:40.083" v="1924" actId="20577"/>
            <ac:spMkLst>
              <pc:docMk/>
              <pc:sldMasterMk cId="831989800" sldId="2147484558"/>
              <pc:sldLayoutMk cId="618796467" sldId="2147484570"/>
              <ac:spMk id="17" creationId="{4C195991-D2BC-4693-824C-A74FBFD27BA4}"/>
            </ac:spMkLst>
          </pc:spChg>
          <pc:spChg chg="mod">
            <ac:chgData name="Camilla Tang (CTA)" userId="4e9b8642-a180-48d0-bfd6-dc9ad090493e" providerId="ADAL" clId="{EC4D0D56-B06D-47F7-9784-581D4BD46BCD}" dt="2021-12-06T08:24:40.084" v="1925" actId="20577"/>
            <ac:spMkLst>
              <pc:docMk/>
              <pc:sldMasterMk cId="831989800" sldId="2147484558"/>
              <pc:sldLayoutMk cId="618796467" sldId="2147484570"/>
              <ac:spMk id="25" creationId="{CA0D9303-8A0D-4245-A958-0E30C8D8E404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90" v="1927" actId="20577"/>
          <pc:sldLayoutMkLst>
            <pc:docMk/>
            <pc:sldMasterMk cId="831989800" sldId="2147484558"/>
            <pc:sldLayoutMk cId="1081914250" sldId="2147484571"/>
          </pc:sldLayoutMkLst>
          <pc:spChg chg="mod">
            <ac:chgData name="Camilla Tang (CTA)" userId="4e9b8642-a180-48d0-bfd6-dc9ad090493e" providerId="ADAL" clId="{EC4D0D56-B06D-47F7-9784-581D4BD46BCD}" dt="2021-12-06T08:24:40.088" v="1926" actId="20577"/>
            <ac:spMkLst>
              <pc:docMk/>
              <pc:sldMasterMk cId="831989800" sldId="2147484558"/>
              <pc:sldLayoutMk cId="1081914250" sldId="2147484571"/>
              <ac:spMk id="14" creationId="{1A003A73-6B4E-4B31-8AF6-0C17F8E03C26}"/>
            </ac:spMkLst>
          </pc:spChg>
          <pc:spChg chg="mod">
            <ac:chgData name="Camilla Tang (CTA)" userId="4e9b8642-a180-48d0-bfd6-dc9ad090493e" providerId="ADAL" clId="{EC4D0D56-B06D-47F7-9784-581D4BD46BCD}" dt="2021-12-06T08:24:40.090" v="1927" actId="20577"/>
            <ac:spMkLst>
              <pc:docMk/>
              <pc:sldMasterMk cId="831989800" sldId="2147484558"/>
              <pc:sldLayoutMk cId="1081914250" sldId="2147484571"/>
              <ac:spMk id="15" creationId="{93ACCB42-CE0A-493E-A2B6-CCDFA21BE23A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096" v="1929" actId="20577"/>
          <pc:sldLayoutMkLst>
            <pc:docMk/>
            <pc:sldMasterMk cId="831989800" sldId="2147484558"/>
            <pc:sldLayoutMk cId="3500208749" sldId="2147484572"/>
          </pc:sldLayoutMkLst>
          <pc:spChg chg="mod">
            <ac:chgData name="Camilla Tang (CTA)" userId="4e9b8642-a180-48d0-bfd6-dc9ad090493e" providerId="ADAL" clId="{EC4D0D56-B06D-47F7-9784-581D4BD46BCD}" dt="2021-12-06T08:24:40.095" v="1928" actId="20577"/>
            <ac:spMkLst>
              <pc:docMk/>
              <pc:sldMasterMk cId="831989800" sldId="2147484558"/>
              <pc:sldLayoutMk cId="3500208749" sldId="2147484572"/>
              <ac:spMk id="17" creationId="{B8DE0197-6A2A-4725-9EFE-B8CCC28E88C4}"/>
            </ac:spMkLst>
          </pc:spChg>
          <pc:spChg chg="mod">
            <ac:chgData name="Camilla Tang (CTA)" userId="4e9b8642-a180-48d0-bfd6-dc9ad090493e" providerId="ADAL" clId="{EC4D0D56-B06D-47F7-9784-581D4BD46BCD}" dt="2021-12-06T08:24:40.096" v="1929" actId="20577"/>
            <ac:spMkLst>
              <pc:docMk/>
              <pc:sldMasterMk cId="831989800" sldId="2147484558"/>
              <pc:sldLayoutMk cId="3500208749" sldId="2147484572"/>
              <ac:spMk id="18" creationId="{EE0EEDF2-8516-4BD6-9C04-51A521F4A14A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02" v="1931" actId="20577"/>
          <pc:sldLayoutMkLst>
            <pc:docMk/>
            <pc:sldMasterMk cId="831989800" sldId="2147484558"/>
            <pc:sldLayoutMk cId="115440523" sldId="2147484573"/>
          </pc:sldLayoutMkLst>
          <pc:spChg chg="mod">
            <ac:chgData name="Camilla Tang (CTA)" userId="4e9b8642-a180-48d0-bfd6-dc9ad090493e" providerId="ADAL" clId="{EC4D0D56-B06D-47F7-9784-581D4BD46BCD}" dt="2021-12-06T08:24:40.101" v="1930" actId="20577"/>
            <ac:spMkLst>
              <pc:docMk/>
              <pc:sldMasterMk cId="831989800" sldId="2147484558"/>
              <pc:sldLayoutMk cId="115440523" sldId="2147484573"/>
              <ac:spMk id="30" creationId="{649DC678-2653-492E-B0BD-EDFD0957671A}"/>
            </ac:spMkLst>
          </pc:spChg>
          <pc:spChg chg="mod">
            <ac:chgData name="Camilla Tang (CTA)" userId="4e9b8642-a180-48d0-bfd6-dc9ad090493e" providerId="ADAL" clId="{EC4D0D56-B06D-47F7-9784-581D4BD46BCD}" dt="2021-12-06T08:24:40.102" v="1931" actId="20577"/>
            <ac:spMkLst>
              <pc:docMk/>
              <pc:sldMasterMk cId="831989800" sldId="2147484558"/>
              <pc:sldLayoutMk cId="115440523" sldId="2147484573"/>
              <ac:spMk id="31" creationId="{0AA8AAE7-D20B-4186-85EE-7A4E8F9C064F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08" v="1933" actId="20577"/>
          <pc:sldLayoutMkLst>
            <pc:docMk/>
            <pc:sldMasterMk cId="831989800" sldId="2147484558"/>
            <pc:sldLayoutMk cId="2575721903" sldId="2147484574"/>
          </pc:sldLayoutMkLst>
          <pc:spChg chg="mod">
            <ac:chgData name="Camilla Tang (CTA)" userId="4e9b8642-a180-48d0-bfd6-dc9ad090493e" providerId="ADAL" clId="{EC4D0D56-B06D-47F7-9784-581D4BD46BCD}" dt="2021-12-06T08:24:40.106" v="1932" actId="20577"/>
            <ac:spMkLst>
              <pc:docMk/>
              <pc:sldMasterMk cId="831989800" sldId="2147484558"/>
              <pc:sldLayoutMk cId="2575721903" sldId="2147484574"/>
              <ac:spMk id="9" creationId="{160CA6CD-D574-4DD4-816C-71D2845FEEEC}"/>
            </ac:spMkLst>
          </pc:spChg>
          <pc:spChg chg="mod">
            <ac:chgData name="Camilla Tang (CTA)" userId="4e9b8642-a180-48d0-bfd6-dc9ad090493e" providerId="ADAL" clId="{EC4D0D56-B06D-47F7-9784-581D4BD46BCD}" dt="2021-12-06T08:24:40.108" v="1933" actId="20577"/>
            <ac:spMkLst>
              <pc:docMk/>
              <pc:sldMasterMk cId="831989800" sldId="2147484558"/>
              <pc:sldLayoutMk cId="2575721903" sldId="2147484574"/>
              <ac:spMk id="12" creationId="{E4E49ACB-73AA-479D-9846-EE3AA784EEC1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49" v="1934" actId="20577"/>
          <pc:sldLayoutMkLst>
            <pc:docMk/>
            <pc:sldMasterMk cId="831989800" sldId="2147484558"/>
            <pc:sldLayoutMk cId="2689440030" sldId="2147484579"/>
          </pc:sldLayoutMkLst>
          <pc:spChg chg="mod">
            <ac:chgData name="Camilla Tang (CTA)" userId="4e9b8642-a180-48d0-bfd6-dc9ad090493e" providerId="ADAL" clId="{EC4D0D56-B06D-47F7-9784-581D4BD46BCD}" dt="2021-12-06T08:24:40.149" v="1934" actId="20577"/>
            <ac:spMkLst>
              <pc:docMk/>
              <pc:sldMasterMk cId="831989800" sldId="2147484558"/>
              <pc:sldLayoutMk cId="2689440030" sldId="2147484579"/>
              <ac:spMk id="28" creationId="{088D49B9-B5E5-4C99-AE12-1EB10F0D1FF7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54" v="1936" actId="20577"/>
          <pc:sldLayoutMkLst>
            <pc:docMk/>
            <pc:sldMasterMk cId="831989800" sldId="2147484558"/>
            <pc:sldLayoutMk cId="2858191769" sldId="2147484580"/>
          </pc:sldLayoutMkLst>
          <pc:spChg chg="mod">
            <ac:chgData name="Camilla Tang (CTA)" userId="4e9b8642-a180-48d0-bfd6-dc9ad090493e" providerId="ADAL" clId="{EC4D0D56-B06D-47F7-9784-581D4BD46BCD}" dt="2021-12-06T08:24:40.152" v="1935" actId="20577"/>
            <ac:spMkLst>
              <pc:docMk/>
              <pc:sldMasterMk cId="831989800" sldId="2147484558"/>
              <pc:sldLayoutMk cId="2858191769" sldId="2147484580"/>
              <ac:spMk id="13" creationId="{72CA7CF4-DEAA-4ED9-8F04-E34E6484B69A}"/>
            </ac:spMkLst>
          </pc:spChg>
          <pc:spChg chg="mod">
            <ac:chgData name="Camilla Tang (CTA)" userId="4e9b8642-a180-48d0-bfd6-dc9ad090493e" providerId="ADAL" clId="{EC4D0D56-B06D-47F7-9784-581D4BD46BCD}" dt="2021-12-06T08:24:40.154" v="1936" actId="20577"/>
            <ac:spMkLst>
              <pc:docMk/>
              <pc:sldMasterMk cId="831989800" sldId="2147484558"/>
              <pc:sldLayoutMk cId="2858191769" sldId="2147484580"/>
              <ac:spMk id="15" creationId="{5B08ED5D-42C8-4726-9210-79DBF30A2252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64" v="1938" actId="20577"/>
          <pc:sldLayoutMkLst>
            <pc:docMk/>
            <pc:sldMasterMk cId="831989800" sldId="2147484558"/>
            <pc:sldLayoutMk cId="4013793335" sldId="2147484584"/>
          </pc:sldLayoutMkLst>
          <pc:spChg chg="mod">
            <ac:chgData name="Camilla Tang (CTA)" userId="4e9b8642-a180-48d0-bfd6-dc9ad090493e" providerId="ADAL" clId="{EC4D0D56-B06D-47F7-9784-581D4BD46BCD}" dt="2021-12-06T08:24:40.162" v="1937" actId="20577"/>
            <ac:spMkLst>
              <pc:docMk/>
              <pc:sldMasterMk cId="831989800" sldId="2147484558"/>
              <pc:sldLayoutMk cId="4013793335" sldId="2147484584"/>
              <ac:spMk id="9" creationId="{9B2077FB-F795-4D6F-8396-754220FF20E8}"/>
            </ac:spMkLst>
          </pc:spChg>
          <pc:spChg chg="mod">
            <ac:chgData name="Camilla Tang (CTA)" userId="4e9b8642-a180-48d0-bfd6-dc9ad090493e" providerId="ADAL" clId="{EC4D0D56-B06D-47F7-9784-581D4BD46BCD}" dt="2021-12-06T08:24:40.164" v="1938" actId="20577"/>
            <ac:spMkLst>
              <pc:docMk/>
              <pc:sldMasterMk cId="831989800" sldId="2147484558"/>
              <pc:sldLayoutMk cId="4013793335" sldId="2147484584"/>
              <ac:spMk id="13" creationId="{45F1F113-691C-4F0F-AA40-C2F320942539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68" v="1940" actId="20577"/>
          <pc:sldLayoutMkLst>
            <pc:docMk/>
            <pc:sldMasterMk cId="831989800" sldId="2147484558"/>
            <pc:sldLayoutMk cId="2360238072" sldId="2147484585"/>
          </pc:sldLayoutMkLst>
          <pc:spChg chg="mod">
            <ac:chgData name="Camilla Tang (CTA)" userId="4e9b8642-a180-48d0-bfd6-dc9ad090493e" providerId="ADAL" clId="{EC4D0D56-B06D-47F7-9784-581D4BD46BCD}" dt="2021-12-06T08:24:40.168" v="1940" actId="20577"/>
            <ac:spMkLst>
              <pc:docMk/>
              <pc:sldMasterMk cId="831989800" sldId="2147484558"/>
              <pc:sldLayoutMk cId="2360238072" sldId="2147484585"/>
              <ac:spMk id="6" creationId="{D13278AA-9DF8-49B8-8A17-F4ADDBBD685F}"/>
            </ac:spMkLst>
          </pc:spChg>
          <pc:spChg chg="mod">
            <ac:chgData name="Camilla Tang (CTA)" userId="4e9b8642-a180-48d0-bfd6-dc9ad090493e" providerId="ADAL" clId="{EC4D0D56-B06D-47F7-9784-581D4BD46BCD}" dt="2021-12-06T08:24:40.166" v="1939" actId="20577"/>
            <ac:spMkLst>
              <pc:docMk/>
              <pc:sldMasterMk cId="831989800" sldId="2147484558"/>
              <pc:sldLayoutMk cId="2360238072" sldId="2147484585"/>
              <ac:spMk id="8" creationId="{E39BEBB2-D2DD-48A6-A2B0-BFA9A93140E0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83" v="1941" actId="20577"/>
          <pc:sldLayoutMkLst>
            <pc:docMk/>
            <pc:sldMasterMk cId="831989800" sldId="2147484558"/>
            <pc:sldLayoutMk cId="4052848961" sldId="2147484589"/>
          </pc:sldLayoutMkLst>
          <pc:spChg chg="mod">
            <ac:chgData name="Camilla Tang (CTA)" userId="4e9b8642-a180-48d0-bfd6-dc9ad090493e" providerId="ADAL" clId="{EC4D0D56-B06D-47F7-9784-581D4BD46BCD}" dt="2021-12-06T08:24:40.183" v="1941" actId="20577"/>
            <ac:spMkLst>
              <pc:docMk/>
              <pc:sldMasterMk cId="831989800" sldId="2147484558"/>
              <pc:sldLayoutMk cId="4052848961" sldId="2147484589"/>
              <ac:spMk id="12" creationId="{3B58E392-BC27-4660-AD3C-E955E01232BA}"/>
            </ac:spMkLst>
          </pc:spChg>
        </pc:sldLayoutChg>
      </pc:sldMasterChg>
      <pc:sldMasterChg chg="modSldLayout">
        <pc:chgData name="Camilla Tang (CTA)" userId="4e9b8642-a180-48d0-bfd6-dc9ad090493e" providerId="ADAL" clId="{EC4D0D56-B06D-47F7-9784-581D4BD46BCD}" dt="2021-12-06T08:24:40.318" v="1981" actId="20577"/>
        <pc:sldMasterMkLst>
          <pc:docMk/>
          <pc:sldMasterMk cId="3807784520" sldId="2147484591"/>
        </pc:sldMasterMkLst>
        <pc:sldLayoutChg chg="modSp mod">
          <pc:chgData name="Camilla Tang (CTA)" userId="4e9b8642-a180-48d0-bfd6-dc9ad090493e" providerId="ADAL" clId="{EC4D0D56-B06D-47F7-9784-581D4BD46BCD}" dt="2021-12-06T08:24:40.192" v="1943" actId="20577"/>
          <pc:sldLayoutMkLst>
            <pc:docMk/>
            <pc:sldMasterMk cId="3807784520" sldId="2147484591"/>
            <pc:sldLayoutMk cId="2397736392" sldId="2147484592"/>
          </pc:sldLayoutMkLst>
          <pc:spChg chg="mod">
            <ac:chgData name="Camilla Tang (CTA)" userId="4e9b8642-a180-48d0-bfd6-dc9ad090493e" providerId="ADAL" clId="{EC4D0D56-B06D-47F7-9784-581D4BD46BCD}" dt="2021-12-06T08:24:40.190" v="1942" actId="20577"/>
            <ac:spMkLst>
              <pc:docMk/>
              <pc:sldMasterMk cId="3807784520" sldId="2147484591"/>
              <pc:sldLayoutMk cId="2397736392" sldId="2147484592"/>
              <ac:spMk id="9" creationId="{060123AB-F4EB-41F1-8A94-975FBA3A89B4}"/>
            </ac:spMkLst>
          </pc:spChg>
          <pc:spChg chg="mod">
            <ac:chgData name="Camilla Tang (CTA)" userId="4e9b8642-a180-48d0-bfd6-dc9ad090493e" providerId="ADAL" clId="{EC4D0D56-B06D-47F7-9784-581D4BD46BCD}" dt="2021-12-06T08:24:40.192" v="1943" actId="20577"/>
            <ac:spMkLst>
              <pc:docMk/>
              <pc:sldMasterMk cId="3807784520" sldId="2147484591"/>
              <pc:sldLayoutMk cId="2397736392" sldId="2147484592"/>
              <ac:spMk id="10" creationId="{290CAE4A-FCB0-4B2A-BC7D-C8588C6DA304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197" v="1945" actId="20577"/>
          <pc:sldLayoutMkLst>
            <pc:docMk/>
            <pc:sldMasterMk cId="3807784520" sldId="2147484591"/>
            <pc:sldLayoutMk cId="3508362481" sldId="2147484593"/>
          </pc:sldLayoutMkLst>
          <pc:spChg chg="mod">
            <ac:chgData name="Camilla Tang (CTA)" userId="4e9b8642-a180-48d0-bfd6-dc9ad090493e" providerId="ADAL" clId="{EC4D0D56-B06D-47F7-9784-581D4BD46BCD}" dt="2021-12-06T08:24:40.195" v="1944" actId="20577"/>
            <ac:spMkLst>
              <pc:docMk/>
              <pc:sldMasterMk cId="3807784520" sldId="2147484591"/>
              <pc:sldLayoutMk cId="3508362481" sldId="2147484593"/>
              <ac:spMk id="10" creationId="{ED3E1516-5485-4675-B57A-EF5738477CDF}"/>
            </ac:spMkLst>
          </pc:spChg>
          <pc:spChg chg="mod">
            <ac:chgData name="Camilla Tang (CTA)" userId="4e9b8642-a180-48d0-bfd6-dc9ad090493e" providerId="ADAL" clId="{EC4D0D56-B06D-47F7-9784-581D4BD46BCD}" dt="2021-12-06T08:24:40.197" v="1945" actId="20577"/>
            <ac:spMkLst>
              <pc:docMk/>
              <pc:sldMasterMk cId="3807784520" sldId="2147484591"/>
              <pc:sldLayoutMk cId="3508362481" sldId="2147484593"/>
              <ac:spMk id="13" creationId="{B5C8AE91-1F54-4289-B79C-90576F95A189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00" v="1947" actId="20577"/>
          <pc:sldLayoutMkLst>
            <pc:docMk/>
            <pc:sldMasterMk cId="3807784520" sldId="2147484591"/>
            <pc:sldLayoutMk cId="3688419553" sldId="2147484594"/>
          </pc:sldLayoutMkLst>
          <pc:spChg chg="mod">
            <ac:chgData name="Camilla Tang (CTA)" userId="4e9b8642-a180-48d0-bfd6-dc9ad090493e" providerId="ADAL" clId="{EC4D0D56-B06D-47F7-9784-581D4BD46BCD}" dt="2021-12-06T08:24:40.199" v="1946" actId="20577"/>
            <ac:spMkLst>
              <pc:docMk/>
              <pc:sldMasterMk cId="3807784520" sldId="2147484591"/>
              <pc:sldLayoutMk cId="3688419553" sldId="2147484594"/>
              <ac:spMk id="6" creationId="{BE201D6F-6040-4CB9-8CBB-46BD87A3BFB4}"/>
            </ac:spMkLst>
          </pc:spChg>
          <pc:spChg chg="mod">
            <ac:chgData name="Camilla Tang (CTA)" userId="4e9b8642-a180-48d0-bfd6-dc9ad090493e" providerId="ADAL" clId="{EC4D0D56-B06D-47F7-9784-581D4BD46BCD}" dt="2021-12-06T08:24:40.200" v="1947" actId="20577"/>
            <ac:spMkLst>
              <pc:docMk/>
              <pc:sldMasterMk cId="3807784520" sldId="2147484591"/>
              <pc:sldLayoutMk cId="3688419553" sldId="2147484594"/>
              <ac:spMk id="8" creationId="{E65EEEC3-E28B-426D-9551-F8943DAFB4FE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06" v="1949" actId="20577"/>
          <pc:sldLayoutMkLst>
            <pc:docMk/>
            <pc:sldMasterMk cId="3807784520" sldId="2147484591"/>
            <pc:sldLayoutMk cId="225666222" sldId="2147484595"/>
          </pc:sldLayoutMkLst>
          <pc:spChg chg="mod">
            <ac:chgData name="Camilla Tang (CTA)" userId="4e9b8642-a180-48d0-bfd6-dc9ad090493e" providerId="ADAL" clId="{EC4D0D56-B06D-47F7-9784-581D4BD46BCD}" dt="2021-12-06T08:24:40.204" v="1948" actId="20577"/>
            <ac:spMkLst>
              <pc:docMk/>
              <pc:sldMasterMk cId="3807784520" sldId="2147484591"/>
              <pc:sldLayoutMk cId="225666222" sldId="2147484595"/>
              <ac:spMk id="12" creationId="{FD6C9617-2017-4978-A566-C2160F7CD75A}"/>
            </ac:spMkLst>
          </pc:spChg>
          <pc:spChg chg="mod">
            <ac:chgData name="Camilla Tang (CTA)" userId="4e9b8642-a180-48d0-bfd6-dc9ad090493e" providerId="ADAL" clId="{EC4D0D56-B06D-47F7-9784-581D4BD46BCD}" dt="2021-12-06T08:24:40.206" v="1949" actId="20577"/>
            <ac:spMkLst>
              <pc:docMk/>
              <pc:sldMasterMk cId="3807784520" sldId="2147484591"/>
              <pc:sldLayoutMk cId="225666222" sldId="2147484595"/>
              <ac:spMk id="13" creationId="{6897EAFE-1E66-4485-A97A-686729CA38D3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09" v="1951" actId="20577"/>
          <pc:sldLayoutMkLst>
            <pc:docMk/>
            <pc:sldMasterMk cId="3807784520" sldId="2147484591"/>
            <pc:sldLayoutMk cId="1835134436" sldId="2147484596"/>
          </pc:sldLayoutMkLst>
          <pc:spChg chg="mod">
            <ac:chgData name="Camilla Tang (CTA)" userId="4e9b8642-a180-48d0-bfd6-dc9ad090493e" providerId="ADAL" clId="{EC4D0D56-B06D-47F7-9784-581D4BD46BCD}" dt="2021-12-06T08:24:40.208" v="1950" actId="20577"/>
            <ac:spMkLst>
              <pc:docMk/>
              <pc:sldMasterMk cId="3807784520" sldId="2147484591"/>
              <pc:sldLayoutMk cId="1835134436" sldId="2147484596"/>
              <ac:spMk id="12" creationId="{915A5073-3A8E-4ED0-8F3C-1EA26B9BAE0C}"/>
            </ac:spMkLst>
          </pc:spChg>
          <pc:spChg chg="mod">
            <ac:chgData name="Camilla Tang (CTA)" userId="4e9b8642-a180-48d0-bfd6-dc9ad090493e" providerId="ADAL" clId="{EC4D0D56-B06D-47F7-9784-581D4BD46BCD}" dt="2021-12-06T08:24:40.209" v="1951" actId="20577"/>
            <ac:spMkLst>
              <pc:docMk/>
              <pc:sldMasterMk cId="3807784520" sldId="2147484591"/>
              <pc:sldLayoutMk cId="1835134436" sldId="2147484596"/>
              <ac:spMk id="13" creationId="{1512550E-157B-4B1A-9A42-9C8FB8D9E2F2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14" v="1953" actId="20577"/>
          <pc:sldLayoutMkLst>
            <pc:docMk/>
            <pc:sldMasterMk cId="3807784520" sldId="2147484591"/>
            <pc:sldLayoutMk cId="1127757628" sldId="2147484597"/>
          </pc:sldLayoutMkLst>
          <pc:spChg chg="mod">
            <ac:chgData name="Camilla Tang (CTA)" userId="4e9b8642-a180-48d0-bfd6-dc9ad090493e" providerId="ADAL" clId="{EC4D0D56-B06D-47F7-9784-581D4BD46BCD}" dt="2021-12-06T08:24:40.214" v="1953" actId="20577"/>
            <ac:spMkLst>
              <pc:docMk/>
              <pc:sldMasterMk cId="3807784520" sldId="2147484591"/>
              <pc:sldLayoutMk cId="1127757628" sldId="2147484597"/>
              <ac:spMk id="9" creationId="{C394B6E7-E767-42C4-98F9-42CAD7DC8592}"/>
            </ac:spMkLst>
          </pc:spChg>
          <pc:spChg chg="mod">
            <ac:chgData name="Camilla Tang (CTA)" userId="4e9b8642-a180-48d0-bfd6-dc9ad090493e" providerId="ADAL" clId="{EC4D0D56-B06D-47F7-9784-581D4BD46BCD}" dt="2021-12-06T08:24:40.213" v="1952" actId="20577"/>
            <ac:spMkLst>
              <pc:docMk/>
              <pc:sldMasterMk cId="3807784520" sldId="2147484591"/>
              <pc:sldLayoutMk cId="1127757628" sldId="2147484597"/>
              <ac:spMk id="11" creationId="{BA87D010-AD08-4BF7-A549-296E0AC0C341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18" v="1955" actId="20577"/>
          <pc:sldLayoutMkLst>
            <pc:docMk/>
            <pc:sldMasterMk cId="3807784520" sldId="2147484591"/>
            <pc:sldLayoutMk cId="3512889916" sldId="2147484598"/>
          </pc:sldLayoutMkLst>
          <pc:spChg chg="mod">
            <ac:chgData name="Camilla Tang (CTA)" userId="4e9b8642-a180-48d0-bfd6-dc9ad090493e" providerId="ADAL" clId="{EC4D0D56-B06D-47F7-9784-581D4BD46BCD}" dt="2021-12-06T08:24:40.217" v="1954" actId="20577"/>
            <ac:spMkLst>
              <pc:docMk/>
              <pc:sldMasterMk cId="3807784520" sldId="2147484591"/>
              <pc:sldLayoutMk cId="3512889916" sldId="2147484598"/>
              <ac:spMk id="9" creationId="{9A033383-F554-4B63-B1DE-AC28B6D6D26B}"/>
            </ac:spMkLst>
          </pc:spChg>
          <pc:spChg chg="mod">
            <ac:chgData name="Camilla Tang (CTA)" userId="4e9b8642-a180-48d0-bfd6-dc9ad090493e" providerId="ADAL" clId="{EC4D0D56-B06D-47F7-9784-581D4BD46BCD}" dt="2021-12-06T08:24:40.218" v="1955" actId="20577"/>
            <ac:spMkLst>
              <pc:docMk/>
              <pc:sldMasterMk cId="3807784520" sldId="2147484591"/>
              <pc:sldLayoutMk cId="3512889916" sldId="2147484598"/>
              <ac:spMk id="10" creationId="{3DAC8923-5839-4118-8C81-0AE0C0168462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25" v="1957" actId="20577"/>
          <pc:sldLayoutMkLst>
            <pc:docMk/>
            <pc:sldMasterMk cId="3807784520" sldId="2147484591"/>
            <pc:sldLayoutMk cId="2553720119" sldId="2147484599"/>
          </pc:sldLayoutMkLst>
          <pc:spChg chg="mod">
            <ac:chgData name="Camilla Tang (CTA)" userId="4e9b8642-a180-48d0-bfd6-dc9ad090493e" providerId="ADAL" clId="{EC4D0D56-B06D-47F7-9784-581D4BD46BCD}" dt="2021-12-06T08:24:40.224" v="1956" actId="20577"/>
            <ac:spMkLst>
              <pc:docMk/>
              <pc:sldMasterMk cId="3807784520" sldId="2147484591"/>
              <pc:sldLayoutMk cId="2553720119" sldId="2147484599"/>
              <ac:spMk id="31" creationId="{825FB020-B420-4BC6-8401-E7675810B46E}"/>
            </ac:spMkLst>
          </pc:spChg>
          <pc:spChg chg="mod">
            <ac:chgData name="Camilla Tang (CTA)" userId="4e9b8642-a180-48d0-bfd6-dc9ad090493e" providerId="ADAL" clId="{EC4D0D56-B06D-47F7-9784-581D4BD46BCD}" dt="2021-12-06T08:24:40.225" v="1957" actId="20577"/>
            <ac:spMkLst>
              <pc:docMk/>
              <pc:sldMasterMk cId="3807784520" sldId="2147484591"/>
              <pc:sldLayoutMk cId="2553720119" sldId="2147484599"/>
              <ac:spMk id="33" creationId="{197D707A-0EE8-407F-A04F-58A14F75875D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32" v="1959" actId="20577"/>
          <pc:sldLayoutMkLst>
            <pc:docMk/>
            <pc:sldMasterMk cId="3807784520" sldId="2147484591"/>
            <pc:sldLayoutMk cId="278351883" sldId="2147484600"/>
          </pc:sldLayoutMkLst>
          <pc:spChg chg="mod">
            <ac:chgData name="Camilla Tang (CTA)" userId="4e9b8642-a180-48d0-bfd6-dc9ad090493e" providerId="ADAL" clId="{EC4D0D56-B06D-47F7-9784-581D4BD46BCD}" dt="2021-12-06T08:24:40.231" v="1958" actId="20577"/>
            <ac:spMkLst>
              <pc:docMk/>
              <pc:sldMasterMk cId="3807784520" sldId="2147484591"/>
              <pc:sldLayoutMk cId="278351883" sldId="2147484600"/>
              <ac:spMk id="40" creationId="{504B94C4-7D46-403E-BD16-F98FEE3DB55A}"/>
            </ac:spMkLst>
          </pc:spChg>
          <pc:spChg chg="mod">
            <ac:chgData name="Camilla Tang (CTA)" userId="4e9b8642-a180-48d0-bfd6-dc9ad090493e" providerId="ADAL" clId="{EC4D0D56-B06D-47F7-9784-581D4BD46BCD}" dt="2021-12-06T08:24:40.232" v="1959" actId="20577"/>
            <ac:spMkLst>
              <pc:docMk/>
              <pc:sldMasterMk cId="3807784520" sldId="2147484591"/>
              <pc:sldLayoutMk cId="278351883" sldId="2147484600"/>
              <ac:spMk id="54" creationId="{2A019DAD-8DE5-406F-845B-64AC2E62F18E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39" v="1961" actId="20577"/>
          <pc:sldLayoutMkLst>
            <pc:docMk/>
            <pc:sldMasterMk cId="3807784520" sldId="2147484591"/>
            <pc:sldLayoutMk cId="414069711" sldId="2147484601"/>
          </pc:sldLayoutMkLst>
          <pc:spChg chg="mod">
            <ac:chgData name="Camilla Tang (CTA)" userId="4e9b8642-a180-48d0-bfd6-dc9ad090493e" providerId="ADAL" clId="{EC4D0D56-B06D-47F7-9784-581D4BD46BCD}" dt="2021-12-06T08:24:40.237" v="1960" actId="20577"/>
            <ac:spMkLst>
              <pc:docMk/>
              <pc:sldMasterMk cId="3807784520" sldId="2147484591"/>
              <pc:sldLayoutMk cId="414069711" sldId="2147484601"/>
              <ac:spMk id="26" creationId="{F1B5855C-E9C3-42C9-9006-FDE0A985997B}"/>
            </ac:spMkLst>
          </pc:spChg>
          <pc:spChg chg="mod">
            <ac:chgData name="Camilla Tang (CTA)" userId="4e9b8642-a180-48d0-bfd6-dc9ad090493e" providerId="ADAL" clId="{EC4D0D56-B06D-47F7-9784-581D4BD46BCD}" dt="2021-12-06T08:24:40.239" v="1961" actId="20577"/>
            <ac:spMkLst>
              <pc:docMk/>
              <pc:sldMasterMk cId="3807784520" sldId="2147484591"/>
              <pc:sldLayoutMk cId="414069711" sldId="2147484601"/>
              <ac:spMk id="27" creationId="{FE290FC9-CF23-4A36-ABEA-616983FD2AD6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43" v="1963" actId="20577"/>
          <pc:sldLayoutMkLst>
            <pc:docMk/>
            <pc:sldMasterMk cId="3807784520" sldId="2147484591"/>
            <pc:sldLayoutMk cId="3406075136" sldId="2147484602"/>
          </pc:sldLayoutMkLst>
          <pc:spChg chg="mod">
            <ac:chgData name="Camilla Tang (CTA)" userId="4e9b8642-a180-48d0-bfd6-dc9ad090493e" providerId="ADAL" clId="{EC4D0D56-B06D-47F7-9784-581D4BD46BCD}" dt="2021-12-06T08:24:40.242" v="1962" actId="20577"/>
            <ac:spMkLst>
              <pc:docMk/>
              <pc:sldMasterMk cId="3807784520" sldId="2147484591"/>
              <pc:sldLayoutMk cId="3406075136" sldId="2147484602"/>
              <ac:spMk id="12" creationId="{60DF5F64-6A32-40D9-9038-F59E3C381981}"/>
            </ac:spMkLst>
          </pc:spChg>
          <pc:spChg chg="mod">
            <ac:chgData name="Camilla Tang (CTA)" userId="4e9b8642-a180-48d0-bfd6-dc9ad090493e" providerId="ADAL" clId="{EC4D0D56-B06D-47F7-9784-581D4BD46BCD}" dt="2021-12-06T08:24:40.243" v="1963" actId="20577"/>
            <ac:spMkLst>
              <pc:docMk/>
              <pc:sldMasterMk cId="3807784520" sldId="2147484591"/>
              <pc:sldLayoutMk cId="3406075136" sldId="2147484602"/>
              <ac:spMk id="13" creationId="{24DA05C1-8E62-4E0A-97DA-E045EDFB1CCE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49" v="1965" actId="20577"/>
          <pc:sldLayoutMkLst>
            <pc:docMk/>
            <pc:sldMasterMk cId="3807784520" sldId="2147484591"/>
            <pc:sldLayoutMk cId="308724510" sldId="2147484603"/>
          </pc:sldLayoutMkLst>
          <pc:spChg chg="mod">
            <ac:chgData name="Camilla Tang (CTA)" userId="4e9b8642-a180-48d0-bfd6-dc9ad090493e" providerId="ADAL" clId="{EC4D0D56-B06D-47F7-9784-581D4BD46BCD}" dt="2021-12-06T08:24:40.248" v="1964" actId="20577"/>
            <ac:spMkLst>
              <pc:docMk/>
              <pc:sldMasterMk cId="3807784520" sldId="2147484591"/>
              <pc:sldLayoutMk cId="308724510" sldId="2147484603"/>
              <ac:spMk id="17" creationId="{4C195991-D2BC-4693-824C-A74FBFD27BA4}"/>
            </ac:spMkLst>
          </pc:spChg>
          <pc:spChg chg="mod">
            <ac:chgData name="Camilla Tang (CTA)" userId="4e9b8642-a180-48d0-bfd6-dc9ad090493e" providerId="ADAL" clId="{EC4D0D56-B06D-47F7-9784-581D4BD46BCD}" dt="2021-12-06T08:24:40.249" v="1965" actId="20577"/>
            <ac:spMkLst>
              <pc:docMk/>
              <pc:sldMasterMk cId="3807784520" sldId="2147484591"/>
              <pc:sldLayoutMk cId="308724510" sldId="2147484603"/>
              <ac:spMk id="25" creationId="{CA0D9303-8A0D-4245-A958-0E30C8D8E404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55" v="1967" actId="20577"/>
          <pc:sldLayoutMkLst>
            <pc:docMk/>
            <pc:sldMasterMk cId="3807784520" sldId="2147484591"/>
            <pc:sldLayoutMk cId="205834971" sldId="2147484604"/>
          </pc:sldLayoutMkLst>
          <pc:spChg chg="mod">
            <ac:chgData name="Camilla Tang (CTA)" userId="4e9b8642-a180-48d0-bfd6-dc9ad090493e" providerId="ADAL" clId="{EC4D0D56-B06D-47F7-9784-581D4BD46BCD}" dt="2021-12-06T08:24:40.253" v="1966" actId="20577"/>
            <ac:spMkLst>
              <pc:docMk/>
              <pc:sldMasterMk cId="3807784520" sldId="2147484591"/>
              <pc:sldLayoutMk cId="205834971" sldId="2147484604"/>
              <ac:spMk id="14" creationId="{1A003A73-6B4E-4B31-8AF6-0C17F8E03C26}"/>
            </ac:spMkLst>
          </pc:spChg>
          <pc:spChg chg="mod">
            <ac:chgData name="Camilla Tang (CTA)" userId="4e9b8642-a180-48d0-bfd6-dc9ad090493e" providerId="ADAL" clId="{EC4D0D56-B06D-47F7-9784-581D4BD46BCD}" dt="2021-12-06T08:24:40.255" v="1967" actId="20577"/>
            <ac:spMkLst>
              <pc:docMk/>
              <pc:sldMasterMk cId="3807784520" sldId="2147484591"/>
              <pc:sldLayoutMk cId="205834971" sldId="2147484604"/>
              <ac:spMk id="15" creationId="{93ACCB42-CE0A-493E-A2B6-CCDFA21BE23A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61" v="1969" actId="20577"/>
          <pc:sldLayoutMkLst>
            <pc:docMk/>
            <pc:sldMasterMk cId="3807784520" sldId="2147484591"/>
            <pc:sldLayoutMk cId="3298232945" sldId="2147484605"/>
          </pc:sldLayoutMkLst>
          <pc:spChg chg="mod">
            <ac:chgData name="Camilla Tang (CTA)" userId="4e9b8642-a180-48d0-bfd6-dc9ad090493e" providerId="ADAL" clId="{EC4D0D56-B06D-47F7-9784-581D4BD46BCD}" dt="2021-12-06T08:24:40.260" v="1968" actId="20577"/>
            <ac:spMkLst>
              <pc:docMk/>
              <pc:sldMasterMk cId="3807784520" sldId="2147484591"/>
              <pc:sldLayoutMk cId="3298232945" sldId="2147484605"/>
              <ac:spMk id="17" creationId="{B8DE0197-6A2A-4725-9EFE-B8CCC28E88C4}"/>
            </ac:spMkLst>
          </pc:spChg>
          <pc:spChg chg="mod">
            <ac:chgData name="Camilla Tang (CTA)" userId="4e9b8642-a180-48d0-bfd6-dc9ad090493e" providerId="ADAL" clId="{EC4D0D56-B06D-47F7-9784-581D4BD46BCD}" dt="2021-12-06T08:24:40.261" v="1969" actId="20577"/>
            <ac:spMkLst>
              <pc:docMk/>
              <pc:sldMasterMk cId="3807784520" sldId="2147484591"/>
              <pc:sldLayoutMk cId="3298232945" sldId="2147484605"/>
              <ac:spMk id="18" creationId="{EE0EEDF2-8516-4BD6-9C04-51A521F4A14A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69" v="1971" actId="20577"/>
          <pc:sldLayoutMkLst>
            <pc:docMk/>
            <pc:sldMasterMk cId="3807784520" sldId="2147484591"/>
            <pc:sldLayoutMk cId="3598434078" sldId="2147484606"/>
          </pc:sldLayoutMkLst>
          <pc:spChg chg="mod">
            <ac:chgData name="Camilla Tang (CTA)" userId="4e9b8642-a180-48d0-bfd6-dc9ad090493e" providerId="ADAL" clId="{EC4D0D56-B06D-47F7-9784-581D4BD46BCD}" dt="2021-12-06T08:24:40.267" v="1970" actId="20577"/>
            <ac:spMkLst>
              <pc:docMk/>
              <pc:sldMasterMk cId="3807784520" sldId="2147484591"/>
              <pc:sldLayoutMk cId="3598434078" sldId="2147484606"/>
              <ac:spMk id="30" creationId="{649DC678-2653-492E-B0BD-EDFD0957671A}"/>
            </ac:spMkLst>
          </pc:spChg>
          <pc:spChg chg="mod">
            <ac:chgData name="Camilla Tang (CTA)" userId="4e9b8642-a180-48d0-bfd6-dc9ad090493e" providerId="ADAL" clId="{EC4D0D56-B06D-47F7-9784-581D4BD46BCD}" dt="2021-12-06T08:24:40.269" v="1971" actId="20577"/>
            <ac:spMkLst>
              <pc:docMk/>
              <pc:sldMasterMk cId="3807784520" sldId="2147484591"/>
              <pc:sldLayoutMk cId="3598434078" sldId="2147484606"/>
              <ac:spMk id="31" creationId="{0AA8AAE7-D20B-4186-85EE-7A4E8F9C064F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75" v="1973" actId="20577"/>
          <pc:sldLayoutMkLst>
            <pc:docMk/>
            <pc:sldMasterMk cId="3807784520" sldId="2147484591"/>
            <pc:sldLayoutMk cId="3447320794" sldId="2147484607"/>
          </pc:sldLayoutMkLst>
          <pc:spChg chg="mod">
            <ac:chgData name="Camilla Tang (CTA)" userId="4e9b8642-a180-48d0-bfd6-dc9ad090493e" providerId="ADAL" clId="{EC4D0D56-B06D-47F7-9784-581D4BD46BCD}" dt="2021-12-06T08:24:40.273" v="1972" actId="20577"/>
            <ac:spMkLst>
              <pc:docMk/>
              <pc:sldMasterMk cId="3807784520" sldId="2147484591"/>
              <pc:sldLayoutMk cId="3447320794" sldId="2147484607"/>
              <ac:spMk id="9" creationId="{160CA6CD-D574-4DD4-816C-71D2845FEEEC}"/>
            </ac:spMkLst>
          </pc:spChg>
          <pc:spChg chg="mod">
            <ac:chgData name="Camilla Tang (CTA)" userId="4e9b8642-a180-48d0-bfd6-dc9ad090493e" providerId="ADAL" clId="{EC4D0D56-B06D-47F7-9784-581D4BD46BCD}" dt="2021-12-06T08:24:40.275" v="1973" actId="20577"/>
            <ac:spMkLst>
              <pc:docMk/>
              <pc:sldMasterMk cId="3807784520" sldId="2147484591"/>
              <pc:sldLayoutMk cId="3447320794" sldId="2147484607"/>
              <ac:spMk id="12" creationId="{E4E49ACB-73AA-479D-9846-EE3AA784EEC1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88" v="1974" actId="20577"/>
          <pc:sldLayoutMkLst>
            <pc:docMk/>
            <pc:sldMasterMk cId="3807784520" sldId="2147484591"/>
            <pc:sldLayoutMk cId="3203679081" sldId="2147484612"/>
          </pc:sldLayoutMkLst>
          <pc:spChg chg="mod">
            <ac:chgData name="Camilla Tang (CTA)" userId="4e9b8642-a180-48d0-bfd6-dc9ad090493e" providerId="ADAL" clId="{EC4D0D56-B06D-47F7-9784-581D4BD46BCD}" dt="2021-12-06T08:24:40.288" v="1974" actId="20577"/>
            <ac:spMkLst>
              <pc:docMk/>
              <pc:sldMasterMk cId="3807784520" sldId="2147484591"/>
              <pc:sldLayoutMk cId="3203679081" sldId="2147484612"/>
              <ac:spMk id="28" creationId="{088D49B9-B5E5-4C99-AE12-1EB10F0D1FF7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293" v="1976" actId="20577"/>
          <pc:sldLayoutMkLst>
            <pc:docMk/>
            <pc:sldMasterMk cId="3807784520" sldId="2147484591"/>
            <pc:sldLayoutMk cId="884436317" sldId="2147484613"/>
          </pc:sldLayoutMkLst>
          <pc:spChg chg="mod">
            <ac:chgData name="Camilla Tang (CTA)" userId="4e9b8642-a180-48d0-bfd6-dc9ad090493e" providerId="ADAL" clId="{EC4D0D56-B06D-47F7-9784-581D4BD46BCD}" dt="2021-12-06T08:24:40.292" v="1975" actId="20577"/>
            <ac:spMkLst>
              <pc:docMk/>
              <pc:sldMasterMk cId="3807784520" sldId="2147484591"/>
              <pc:sldLayoutMk cId="884436317" sldId="2147484613"/>
              <ac:spMk id="13" creationId="{72CA7CF4-DEAA-4ED9-8F04-E34E6484B69A}"/>
            </ac:spMkLst>
          </pc:spChg>
          <pc:spChg chg="mod">
            <ac:chgData name="Camilla Tang (CTA)" userId="4e9b8642-a180-48d0-bfd6-dc9ad090493e" providerId="ADAL" clId="{EC4D0D56-B06D-47F7-9784-581D4BD46BCD}" dt="2021-12-06T08:24:40.293" v="1976" actId="20577"/>
            <ac:spMkLst>
              <pc:docMk/>
              <pc:sldMasterMk cId="3807784520" sldId="2147484591"/>
              <pc:sldLayoutMk cId="884436317" sldId="2147484613"/>
              <ac:spMk id="15" creationId="{5B08ED5D-42C8-4726-9210-79DBF30A2252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301" v="1978" actId="20577"/>
          <pc:sldLayoutMkLst>
            <pc:docMk/>
            <pc:sldMasterMk cId="3807784520" sldId="2147484591"/>
            <pc:sldLayoutMk cId="742268847" sldId="2147484617"/>
          </pc:sldLayoutMkLst>
          <pc:spChg chg="mod">
            <ac:chgData name="Camilla Tang (CTA)" userId="4e9b8642-a180-48d0-bfd6-dc9ad090493e" providerId="ADAL" clId="{EC4D0D56-B06D-47F7-9784-581D4BD46BCD}" dt="2021-12-06T08:24:40.300" v="1977" actId="20577"/>
            <ac:spMkLst>
              <pc:docMk/>
              <pc:sldMasterMk cId="3807784520" sldId="2147484591"/>
              <pc:sldLayoutMk cId="742268847" sldId="2147484617"/>
              <ac:spMk id="9" creationId="{9B2077FB-F795-4D6F-8396-754220FF20E8}"/>
            </ac:spMkLst>
          </pc:spChg>
          <pc:spChg chg="mod">
            <ac:chgData name="Camilla Tang (CTA)" userId="4e9b8642-a180-48d0-bfd6-dc9ad090493e" providerId="ADAL" clId="{EC4D0D56-B06D-47F7-9784-581D4BD46BCD}" dt="2021-12-06T08:24:40.301" v="1978" actId="20577"/>
            <ac:spMkLst>
              <pc:docMk/>
              <pc:sldMasterMk cId="3807784520" sldId="2147484591"/>
              <pc:sldLayoutMk cId="742268847" sldId="2147484617"/>
              <ac:spMk id="13" creationId="{45F1F113-691C-4F0F-AA40-C2F320942539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305" v="1980" actId="20577"/>
          <pc:sldLayoutMkLst>
            <pc:docMk/>
            <pc:sldMasterMk cId="3807784520" sldId="2147484591"/>
            <pc:sldLayoutMk cId="3021477063" sldId="2147484618"/>
          </pc:sldLayoutMkLst>
          <pc:spChg chg="mod">
            <ac:chgData name="Camilla Tang (CTA)" userId="4e9b8642-a180-48d0-bfd6-dc9ad090493e" providerId="ADAL" clId="{EC4D0D56-B06D-47F7-9784-581D4BD46BCD}" dt="2021-12-06T08:24:40.305" v="1980" actId="20577"/>
            <ac:spMkLst>
              <pc:docMk/>
              <pc:sldMasterMk cId="3807784520" sldId="2147484591"/>
              <pc:sldLayoutMk cId="3021477063" sldId="2147484618"/>
              <ac:spMk id="6" creationId="{D13278AA-9DF8-49B8-8A17-F4ADDBBD685F}"/>
            </ac:spMkLst>
          </pc:spChg>
          <pc:spChg chg="mod">
            <ac:chgData name="Camilla Tang (CTA)" userId="4e9b8642-a180-48d0-bfd6-dc9ad090493e" providerId="ADAL" clId="{EC4D0D56-B06D-47F7-9784-581D4BD46BCD}" dt="2021-12-06T08:24:40.304" v="1979" actId="20577"/>
            <ac:spMkLst>
              <pc:docMk/>
              <pc:sldMasterMk cId="3807784520" sldId="2147484591"/>
              <pc:sldLayoutMk cId="3021477063" sldId="2147484618"/>
              <ac:spMk id="8" creationId="{E39BEBB2-D2DD-48A6-A2B0-BFA9A93140E0}"/>
            </ac:spMkLst>
          </pc:spChg>
        </pc:sldLayoutChg>
        <pc:sldLayoutChg chg="modSp mod">
          <pc:chgData name="Camilla Tang (CTA)" userId="4e9b8642-a180-48d0-bfd6-dc9ad090493e" providerId="ADAL" clId="{EC4D0D56-B06D-47F7-9784-581D4BD46BCD}" dt="2021-12-06T08:24:40.318" v="1981" actId="20577"/>
          <pc:sldLayoutMkLst>
            <pc:docMk/>
            <pc:sldMasterMk cId="3807784520" sldId="2147484591"/>
            <pc:sldLayoutMk cId="3054666900" sldId="2147484622"/>
          </pc:sldLayoutMkLst>
          <pc:spChg chg="mod">
            <ac:chgData name="Camilla Tang (CTA)" userId="4e9b8642-a180-48d0-bfd6-dc9ad090493e" providerId="ADAL" clId="{EC4D0D56-B06D-47F7-9784-581D4BD46BCD}" dt="2021-12-06T08:24:40.318" v="1981" actId="20577"/>
            <ac:spMkLst>
              <pc:docMk/>
              <pc:sldMasterMk cId="3807784520" sldId="2147484591"/>
              <pc:sldLayoutMk cId="3054666900" sldId="2147484622"/>
              <ac:spMk id="12" creationId="{3B58E392-BC27-4660-AD3C-E955E01232BA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12884C-B714-4DEF-9360-9095C79A5034}" type="datetimeFigureOut">
              <a:rPr lang="da-DK" smtClean="0"/>
              <a:t>06-12-2021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95909-989E-46E9-BDF9-A472421A36D1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677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12718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933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383" userDrawn="1">
          <p15:clr>
            <a:srgbClr val="A4A3A4"/>
          </p15:clr>
        </p15:guide>
        <p15:guide id="4" pos="4721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FAB5EF34-F317-4D5F-B41B-20A68B26610F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839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035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1111" userDrawn="1">
          <p15:clr>
            <a:srgbClr val="A4A3A4"/>
          </p15:clr>
        </p15:guide>
        <p15:guide id="13" orient="horz" pos="2018" userDrawn="1">
          <p15:clr>
            <a:srgbClr val="A4A3A4"/>
          </p15:clr>
        </p15:guide>
        <p15:guide id="14" orient="horz" pos="2925" userDrawn="1">
          <p15:clr>
            <a:srgbClr val="A4A3A4"/>
          </p15:clr>
        </p15:guide>
        <p15:guide id="15" pos="439" userDrawn="1">
          <p15:clr>
            <a:srgbClr val="A4A3A4"/>
          </p15:clr>
        </p15:guide>
        <p15:guide id="16" pos="1952" userDrawn="1">
          <p15:clr>
            <a:srgbClr val="A4A3A4"/>
          </p15:clr>
        </p15:guide>
        <p15:guide id="17" pos="2181" userDrawn="1">
          <p15:clr>
            <a:srgbClr val="A4A3A4"/>
          </p15:clr>
        </p15:guide>
        <p15:guide id="18" pos="3694" userDrawn="1">
          <p15:clr>
            <a:srgbClr val="A4A3A4"/>
          </p15:clr>
        </p15:guide>
        <p15:guide id="19" pos="3923" userDrawn="1">
          <p15:clr>
            <a:srgbClr val="A4A3A4"/>
          </p15:clr>
        </p15:guide>
        <p15:guide id="20" pos="5435" userDrawn="1">
          <p15:clr>
            <a:srgbClr val="A4A3A4"/>
          </p15:clr>
        </p15:guide>
        <p15:guide id="21" pos="5664" userDrawn="1">
          <p15:clr>
            <a:srgbClr val="A4A3A4"/>
          </p15:clr>
        </p15:guide>
        <p15:guide id="22" pos="7179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128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825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3963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5433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49223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A7E5089-7747-4FEE-875D-9E22D1A8538E}"/>
              </a:ext>
            </a:extLst>
          </p:cNvPr>
          <p:cNvSpPr txBox="1">
            <a:spLocks/>
          </p:cNvSpPr>
          <p:nvPr userDrawn="1"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8572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4751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55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25" userDrawn="1">
          <p15:clr>
            <a:srgbClr val="A4A3A4"/>
          </p15:clr>
        </p15:guide>
        <p15:guide id="12" pos="1950" userDrawn="1">
          <p15:clr>
            <a:srgbClr val="A4A3A4"/>
          </p15:clr>
        </p15:guide>
        <p15:guide id="13" pos="3775" userDrawn="1">
          <p15:clr>
            <a:srgbClr val="A4A3A4"/>
          </p15:clr>
        </p15:guide>
        <p15:guide id="14" pos="3902" userDrawn="1">
          <p15:clr>
            <a:srgbClr val="A4A3A4"/>
          </p15:clr>
        </p15:guide>
        <p15:guide id="15" pos="5728" userDrawn="1">
          <p15:clr>
            <a:srgbClr val="A4A3A4"/>
          </p15:clr>
        </p15:guide>
        <p15:guide id="16" pos="5852" userDrawn="1">
          <p15:clr>
            <a:srgbClr val="A4A3A4"/>
          </p15:clr>
        </p15:guide>
        <p15:guide id="17" orient="horz" pos="1335" userDrawn="1">
          <p15:clr>
            <a:srgbClr val="A4A3A4"/>
          </p15:clr>
        </p15:guide>
        <p15:guide id="18" orient="horz" pos="1210" userDrawn="1">
          <p15:clr>
            <a:srgbClr val="A4A3A4"/>
          </p15:clr>
        </p15:guide>
        <p15:guide id="19" orient="horz" pos="2546" userDrawn="1">
          <p15:clr>
            <a:srgbClr val="A4A3A4"/>
          </p15:clr>
        </p15:guide>
        <p15:guide id="20" orient="horz" pos="2671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71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6" userDrawn="1">
          <p15:clr>
            <a:srgbClr val="A4A3A4"/>
          </p15:clr>
        </p15:guide>
        <p15:guide id="4" pos="293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059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68890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63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orient="horz" pos="82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3910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39" userDrawn="1">
          <p15:clr>
            <a:srgbClr val="A4A3A4"/>
          </p15:clr>
        </p15:guide>
        <p15:guide id="5" pos="530" userDrawn="1">
          <p15:clr>
            <a:srgbClr val="A4A3A4"/>
          </p15:clr>
        </p15:guide>
        <p15:guide id="6" pos="33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948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99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05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995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DF5ED4B5-C26B-4C7A-9B43-0702A47F63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51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9" imgH="358" progId="TCLayout.ActiveDocument.1">
                  <p:embed/>
                </p:oleObj>
              </mc:Choice>
              <mc:Fallback>
                <p:oleObj name="think-cell Slide" r:id="rId8" imgW="359" imgH="35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DF5ED4B5-C26B-4C7A-9B43-0702A47F6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03760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4" orient="horz" pos="1111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4013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3931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89983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97EC4B84-9A46-441E-AF09-D321CB814A3D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32334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2106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140125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331" userDrawn="1">
          <p15:clr>
            <a:srgbClr val="A4A3A4"/>
          </p15:clr>
        </p15:guide>
        <p15:guide id="4" pos="595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1153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492" userDrawn="1">
          <p15:clr>
            <a:srgbClr val="A4A3A4"/>
          </p15:clr>
        </p15:guide>
        <p15:guide id="7" pos="2757" userDrawn="1">
          <p15:clr>
            <a:srgbClr val="A4A3A4"/>
          </p15:clr>
        </p15:guide>
        <p15:guide id="8" pos="4973" userDrawn="1">
          <p15:clr>
            <a:srgbClr val="A4A3A4"/>
          </p15:clr>
        </p15:guide>
        <p15:guide id="9" pos="5238" userDrawn="1">
          <p15:clr>
            <a:srgbClr val="A4A3A4"/>
          </p15:clr>
        </p15:guide>
        <p15:guide id="10" orient="horz" pos="952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4824469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</p:spTree>
    <p:extLst>
      <p:ext uri="{BB962C8B-B14F-4D97-AF65-F5344CB8AC3E}">
        <p14:creationId xmlns:p14="http://schemas.microsoft.com/office/powerpoint/2010/main" val="3740767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2B947AB6-B9EC-4DCD-A697-8768A86AED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9401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7088837" y="3750388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5DE36CD-FF11-42C3-ACBB-E915FBB94C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86616" y="2273621"/>
            <a:ext cx="3866262" cy="3651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497E584-507A-4896-B783-12050900D0E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86616" y="3019553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25678E-67B9-4272-9D1B-155D670801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86492" y="3386481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7194157-87FE-4673-8F23-ED0147573D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86491" y="3752833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8D7D729-10E0-47EA-820D-120B63FCEC8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86615" y="2641192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Title</a:t>
            </a:r>
          </a:p>
          <a:p>
            <a:pPr lvl="0"/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0AA70B-57FB-4FBC-B0D2-3D04C7F732E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86492" y="4506817"/>
            <a:ext cx="3866262" cy="3651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ountry</a:t>
            </a:r>
          </a:p>
          <a:p>
            <a:pPr lvl="0"/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3AC9B7A-5DD9-4AC6-9A61-3D65F921C6E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86491" y="4874388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074499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9DBA964-FEAB-453C-9350-008EDADB31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400" y="1530220"/>
            <a:ext cx="11473200" cy="464674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ext or add media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A87D010-AD08-4BF7-A549-296E0AC0C341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C394B6E7-E767-42C4-98F9-42CAD7DC859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11956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50683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060123AB-F4EB-41F1-8A94-975FBA3A89B4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Rectangle 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290CAE4A-FCB0-4B2A-BC7D-C8588C6DA304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06157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460376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096A5F-41F7-4849-B1DD-3BB26AE1A28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399" y="1953211"/>
            <a:ext cx="5460376" cy="4255501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text or add medi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14448"/>
            <a:ext cx="5736600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D4588C-9528-4F84-BEB5-9FDADCE07EA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096000" y="1953210"/>
            <a:ext cx="5736600" cy="4255501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text or add media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D3E1516-5485-4675-B57A-EF5738477CDF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5C8AE91-1F54-4289-B79C-90576F95A189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132134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3B9F1-E65E-4EFC-B100-025B72A4EF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2A9A60-795D-4279-9017-BFEA2716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F7E34DD-BCB3-48A5-9AFC-5917B8B381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6" name="Rectangle 5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E201D6F-6040-4CB9-8CBB-46BD87A3BFB4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8" name="Rectangle 7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65EEEC3-E28B-426D-9551-F8943DAFB4FE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859255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01AB61-C95C-4497-A2E7-CB47DEEF49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150" y="1512271"/>
            <a:ext cx="3517900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Font typeface="Arial" panose="020B0604020202020204" pitchFamily="34" charset="0"/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7E7C96B-69DE-4BDC-81D3-E0A22052B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76425" y="1512271"/>
            <a:ext cx="3517900" cy="464661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03B140D-EF9C-4436-8B46-BA632AAEA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14700" y="1532367"/>
            <a:ext cx="3517900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FD6C9617-2017-4978-A566-C2160F7CD75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6897EAFE-1E66-4485-A97A-686729CA38D3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087629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01AB61-C95C-4497-A2E7-CB47DEEF49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149" y="1512271"/>
            <a:ext cx="5380759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03B140D-EF9C-4436-8B46-BA632AAEA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3094" y="1532367"/>
            <a:ext cx="5459506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15A5073-3A8E-4ED0-8F3C-1EA26B9BAE0C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512550E-157B-4B1A-9A42-9C8FB8D9E2F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960609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9DBA964-FEAB-453C-9350-008EDADB31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400" y="1530220"/>
            <a:ext cx="11473200" cy="464674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ext or add media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A87D010-AD08-4BF7-A549-296E0AC0C341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C394B6E7-E767-42C4-98F9-42CAD7DC859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38448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329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52" userDrawn="1">
          <p15:clr>
            <a:srgbClr val="A4A3A4"/>
          </p15:clr>
        </p15:guide>
        <p15:guide id="5" pos="4013" userDrawn="1">
          <p15:clr>
            <a:srgbClr val="A4A3A4"/>
          </p15:clr>
        </p15:guide>
        <p15:guide id="6" pos="3716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A033383-F554-4B63-B1DE-AC28B6D6D26B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Rectangle 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3DAC8923-5839-4118-8C81-0AE0C016846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144790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tx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tx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tx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1" name="Rectangle 3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825FB020-B420-4BC6-8401-E7675810B46E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33" name="Rectangle 3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97D707A-0EE8-407F-A04F-58A14F75875D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267881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3B8852-4A6C-453A-A099-A78DB0C2DB88}"/>
              </a:ext>
            </a:extLst>
          </p:cNvPr>
          <p:cNvSpPr/>
          <p:nvPr/>
        </p:nvSpPr>
        <p:spPr>
          <a:xfrm>
            <a:off x="4936965" y="3244334"/>
            <a:ext cx="23180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0" name="Rectangle 3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504B94C4-7D46-403E-BD16-F98FEE3DB55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4" name="Rectangle 53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2A019DAD-8DE5-406F-845B-64AC2E62F18E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485236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Rectangle 25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F1B5855C-E9C3-42C9-9006-FDE0A985997B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27" name="Rectangle 26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FE290FC9-CF23-4A36-ABEA-616983FD2AD6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037023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60DF5F64-6A32-40D9-9038-F59E3C381981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24DA05C1-8E62-4E0A-97DA-E045EDFB1CCE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401669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541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5021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4061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541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13581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04061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3581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4061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Rectangle 16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4C195991-D2BC-4693-824C-A74FBFD27BA4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25" name="Rectangle 2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CA0D9303-8A0D-4245-A958-0E30C8D8E404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796467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4" name="Rectangle 13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A003A73-6B4E-4B31-8AF6-0C17F8E03C26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accent4"/>
                </a:solidFill>
              </a:rPr>
              <a:t>YNAS6NA67CVJ-2065489706-1849</a:t>
            </a:r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15" name="Rectangle 1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3ACCB42-CE0A-493E-A2B6-CCDFA21BE23A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914250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541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5021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4061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541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13581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04061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3581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4061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7" name="Rectangle 16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8DE0197-6A2A-4725-9EFE-B8CCC28E88C4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accent4"/>
                </a:solidFill>
              </a:rPr>
              <a:t>YNAS6NA67CVJ-2065489706-1849</a:t>
            </a:r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18" name="Rectangle 17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E0EEDF2-8516-4BD6-9C04-51A521F4A14A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208749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649DC678-2653-492E-B0BD-EDFD0957671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31" name="Rectangle 3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0AA8AAE7-D20B-4186-85EE-7A4E8F9C064F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40523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625A5BD-115E-4649-90FC-C7A826E60E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774" y="4485736"/>
            <a:ext cx="5454803" cy="1715039"/>
          </a:xfrm>
          <a:prstGeom prst="rect">
            <a:avLst/>
          </a:prstGeom>
          <a:noFill/>
        </p:spPr>
        <p:txBody>
          <a:bodyPr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b="0"/>
            </a:lvl1pPr>
            <a:lvl2pPr marL="0" indent="0">
              <a:spcBef>
                <a:spcPts val="900"/>
              </a:spcBef>
              <a:buNone/>
              <a:defRPr sz="1600"/>
            </a:lvl2pPr>
            <a:lvl3pPr marL="914400" indent="0">
              <a:spcBef>
                <a:spcPts val="900"/>
              </a:spcBef>
              <a:buNone/>
              <a:defRPr/>
            </a:lvl3pPr>
            <a:lvl4pPr marL="1371600" indent="0">
              <a:spcBef>
                <a:spcPts val="900"/>
              </a:spcBef>
              <a:buNone/>
              <a:defRPr/>
            </a:lvl4pPr>
            <a:lvl5pPr marL="1828800" indent="0">
              <a:spcBef>
                <a:spcPts val="900"/>
              </a:spcBef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  <a:p>
            <a:pPr lvl="1"/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143F037-8805-4E5D-960D-14F60E4851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6085" y="4485735"/>
            <a:ext cx="5454803" cy="1715039"/>
          </a:xfrm>
          <a:prstGeom prst="rect">
            <a:avLst/>
          </a:prstGeom>
          <a:noFill/>
        </p:spPr>
        <p:txBody>
          <a:bodyPr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b="0"/>
            </a:lvl1pPr>
            <a:lvl2pPr marL="0" indent="0">
              <a:spcBef>
                <a:spcPts val="900"/>
              </a:spcBef>
              <a:buNone/>
              <a:defRPr sz="1600"/>
            </a:lvl2pPr>
            <a:lvl3pPr marL="914400" indent="0">
              <a:spcBef>
                <a:spcPts val="900"/>
              </a:spcBef>
              <a:buNone/>
              <a:defRPr/>
            </a:lvl3pPr>
            <a:lvl4pPr marL="1371600" indent="0">
              <a:spcBef>
                <a:spcPts val="900"/>
              </a:spcBef>
              <a:buNone/>
              <a:defRPr/>
            </a:lvl4pPr>
            <a:lvl5pPr marL="1828800" indent="0">
              <a:spcBef>
                <a:spcPts val="900"/>
              </a:spcBef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  <a:p>
            <a:pPr lvl="1"/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60CA6CD-D574-4DD4-816C-71D2845FEEEC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4E49ACB-73AA-479D-9846-EE3AA784EEC1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721903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439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717700" y="1470467"/>
            <a:ext cx="90000" cy="252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676402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4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717700" y="1470467"/>
            <a:ext cx="90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387810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EAC0A55-B593-4BE8-AE9B-06A0D9B2BD6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768173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98FF2A-9B29-4883-83B8-49C98990E42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6611822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234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-1270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-8467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06233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10466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0200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1470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1974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11274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15507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23974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8" name="Footer Placeholder 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088D49B9-B5E5-4C99-AE12-1EB10F0D1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711" y="637581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YNAS6NA67CVJ-2065489706-1849</a:t>
            </a:r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9440030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874EB9-C1B7-4D46-9DA6-A2B11A2631C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59400" y="2381458"/>
            <a:ext cx="4305301" cy="3877301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72CA7CF4-DEAA-4ED9-8F04-E34E6484B69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5" name="Rectangle 1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5B08ED5D-42C8-4726-9210-79DBF30A225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91769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07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1376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5596761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6"/>
            <a:ext cx="4791075" cy="84967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48426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6"/>
            <a:ext cx="4791075" cy="84967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715874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99869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874EB9-C1B7-4D46-9DA6-A2B11A2631C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59400" y="2381458"/>
            <a:ext cx="4305301" cy="3877301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B2077FB-F795-4D6F-8396-754220FF20E8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45F1F113-691C-4F0F-AA40-C2F320942539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793335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4670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7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39BEBB2-D2DD-48A6-A2B0-BFA9A93140E0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Rectangle 5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D13278AA-9DF8-49B8-8A17-F4ADDBBD685F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238072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</p:spPr>
        <p:txBody>
          <a:bodyPr/>
          <a:lstStyle>
            <a:lvl1pPr>
              <a:defRPr b="1">
                <a:solidFill>
                  <a:schemeClr val="accent5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14679560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2B947AB6-B9EC-4DCD-A697-8768A86AED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9401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7088837" y="3750388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5DE36CD-FF11-42C3-ACBB-E915FBB94C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86616" y="2273621"/>
            <a:ext cx="3866262" cy="3651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497E584-507A-4896-B783-12050900D0E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86616" y="3019553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25678E-67B9-4272-9D1B-155D670801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86492" y="3386481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7194157-87FE-4673-8F23-ED0147573D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86491" y="3752833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8D7D729-10E0-47EA-820D-120B63FCEC8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86615" y="2641192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Title</a:t>
            </a:r>
          </a:p>
          <a:p>
            <a:pPr lvl="0"/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0AA70B-57FB-4FBC-B0D2-3D04C7F732E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86492" y="4506817"/>
            <a:ext cx="3866262" cy="3651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ountry</a:t>
            </a:r>
          </a:p>
          <a:p>
            <a:pPr lvl="0"/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3AC9B7A-5DD9-4AC6-9A61-3D65F921C6E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86491" y="4874388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095344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7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2B947AB6-B9EC-4DCD-A697-8768A86AED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9401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EAE402-13E4-459D-897A-15E6716F37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9928" y="4940323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E644E19-B05F-478D-BE06-A16AE5C316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59927" y="5271726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6992163-AD60-4475-BDF4-D7D92BE0D1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9927" y="5603129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37918040-0378-4A15-A3CC-EE97742E23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53302" y="4575197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BD9F163-876A-4D41-9F9C-A2B219FA2B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1670" y="4940323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563DE2F-C78D-48F8-9338-D2C4ED0C25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51669" y="5271726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6E7EB1F-88AA-4027-A4C7-73976835BE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51669" y="5603129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E1D38588-09D7-4C07-970E-FA8D765237F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440" y="4575197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CE4CEB3-A6E3-4631-AD91-DCAC27EECE6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82808" y="4940323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4D65DDEF-A203-4F91-B2EE-2DDE530C159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2807" y="5271726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6DD3D5-F405-46D1-BEE1-2B767A54AF6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82807" y="5603129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27F2608-9A22-4360-8CDC-83FCB66BB12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98443" y="4571035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2E2DEAC9-C5A7-4388-907F-6FE9AD1B230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96811" y="4936161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944FE2E8-93FF-43F4-ACD3-F569AB5FD21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96810" y="5267564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063A5174-46D4-44D7-A182-956C7052AA1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096810" y="5598967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93118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3B58E392-BC27-4660-AD3C-E955E01232BA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848961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883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8237A91-0382-48FB-8427-D26BBD223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96721" y="1958355"/>
            <a:ext cx="4500000" cy="12271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Replace icon and click here to edit text</a:t>
            </a:r>
            <a:endParaRPr lang="da-DK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D885F7B-E142-4D45-8AF4-68A4A08FD1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32600" y="1958355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91BA55F-85D5-4180-8145-B947551198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96721" y="3333893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799AD7F-59F8-4594-BD56-586D9DBBCC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32600" y="3333893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3D22A8D-3594-454E-9B19-5D8606AD2FE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96721" y="4695740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DDA4FD1-520C-476C-85CC-DCDAC25617C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32600" y="4695740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658687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50683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060123AB-F4EB-41F1-8A94-975FBA3A89B4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Rectangle 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290CAE4A-FCB0-4B2A-BC7D-C8588C6DA304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736392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460376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096A5F-41F7-4849-B1DD-3BB26AE1A28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399" y="1953211"/>
            <a:ext cx="5460376" cy="4255501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text or add medi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14448"/>
            <a:ext cx="5736600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D4588C-9528-4F84-BEB5-9FDADCE07EA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096000" y="1953210"/>
            <a:ext cx="5736600" cy="4255501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text or add media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D3E1516-5485-4675-B57A-EF5738477CDF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5C8AE91-1F54-4289-B79C-90576F95A189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362481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3B9F1-E65E-4EFC-B100-025B72A4EF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2A9A60-795D-4279-9017-BFEA2716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F7E34DD-BCB3-48A5-9AFC-5917B8B381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6" name="Rectangle 5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E201D6F-6040-4CB9-8CBB-46BD87A3BFB4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8" name="Rectangle 7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65EEEC3-E28B-426D-9551-F8943DAFB4FE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19553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01AB61-C95C-4497-A2E7-CB47DEEF49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150" y="1512271"/>
            <a:ext cx="3517900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Font typeface="Arial" panose="020B0604020202020204" pitchFamily="34" charset="0"/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7E7C96B-69DE-4BDC-81D3-E0A22052B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76425" y="1512271"/>
            <a:ext cx="3517900" cy="464661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03B140D-EF9C-4436-8B46-BA632AAEA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14700" y="1532367"/>
            <a:ext cx="3517900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FD6C9617-2017-4978-A566-C2160F7CD75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6897EAFE-1E66-4485-A97A-686729CA38D3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66222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339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01AB61-C95C-4497-A2E7-CB47DEEF49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149" y="1512271"/>
            <a:ext cx="5380759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03B140D-EF9C-4436-8B46-BA632AAEA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3094" y="1532367"/>
            <a:ext cx="5459506" cy="4646613"/>
          </a:xfrm>
          <a:prstGeom prst="rect">
            <a:avLst/>
          </a:prstGeom>
        </p:spPr>
        <p:txBody>
          <a:bodyPr lIns="72000" tIns="36000" rIns="72000" bIns="36000"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15A5073-3A8E-4ED0-8F3C-1EA26B9BAE0C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512550E-157B-4B1A-9A42-9C8FB8D9E2F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134436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9DBA964-FEAB-453C-9350-008EDADB31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400" y="1530220"/>
            <a:ext cx="11473200" cy="464674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ext or add media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A87D010-AD08-4BF7-A549-296E0AC0C341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C394B6E7-E767-42C4-98F9-42CAD7DC859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75762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A033383-F554-4B63-B1DE-AC28B6D6D26B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Rectangle 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3DAC8923-5839-4118-8C81-0AE0C016846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889916"/>
      </p:ext>
    </p:extLst>
  </p:cSld>
  <p:clrMapOvr>
    <a:masterClrMapping/>
  </p:clrMapOvr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tx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tx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tx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1" name="Rectangle 3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825FB020-B420-4BC6-8401-E7675810B46E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33" name="Rectangle 3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97D707A-0EE8-407F-A04F-58A14F75875D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720119"/>
      </p:ext>
    </p:extLst>
  </p:cSld>
  <p:clrMapOvr>
    <a:masterClrMapping/>
  </p:clrMapOvr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3B8852-4A6C-453A-A099-A78DB0C2DB88}"/>
              </a:ext>
            </a:extLst>
          </p:cNvPr>
          <p:cNvSpPr/>
          <p:nvPr/>
        </p:nvSpPr>
        <p:spPr>
          <a:xfrm>
            <a:off x="4936965" y="3244334"/>
            <a:ext cx="23180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0" name="Rectangle 3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504B94C4-7D46-403E-BD16-F98FEE3DB55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4" name="Rectangle 53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2A019DAD-8DE5-406F-845B-64AC2E62F18E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51883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Rectangle 25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F1B5855C-E9C3-42C9-9006-FDE0A985997B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27" name="Rectangle 26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FE290FC9-CF23-4A36-ABEA-616983FD2AD6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69711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60DF5F64-6A32-40D9-9038-F59E3C381981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24DA05C1-8E62-4E0A-97DA-E045EDFB1CCE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075136"/>
      </p:ext>
    </p:extLst>
  </p:cSld>
  <p:clrMapOvr>
    <a:masterClrMapping/>
  </p:clrMapOvr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541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5021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4061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541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13581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04061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3581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4061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Rectangle 16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4C195991-D2BC-4693-824C-A74FBFD27BA4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25" name="Rectangle 2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CA0D9303-8A0D-4245-A958-0E30C8D8E404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24510"/>
      </p:ext>
    </p:extLst>
  </p:cSld>
  <p:clrMapOvr>
    <a:masterClrMapping/>
  </p:clrMapOvr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4" name="Rectangle 13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A003A73-6B4E-4B31-8AF6-0C17F8E03C26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accent4"/>
                </a:solidFill>
              </a:rPr>
              <a:t>YNAS6NA67CVJ-2065489706-1849</a:t>
            </a:r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15" name="Rectangle 1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3ACCB42-CE0A-493E-A2B6-CCDFA21BE23A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34971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541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5021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4061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541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13581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04061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3581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4061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7" name="Rectangle 16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B8DE0197-6A2A-4725-9EFE-B8CCC28E88C4}"/>
              </a:ext>
            </a:extLst>
          </p:cNvPr>
          <p:cNvSpPr/>
          <p:nvPr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accent4"/>
                </a:solidFill>
              </a:rPr>
              <a:t>YNAS6NA67CVJ-2065489706-1849</a:t>
            </a:r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18" name="Rectangle 17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E0EEDF2-8516-4BD6-9C04-51A521F4A14A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232945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03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649DC678-2653-492E-B0BD-EDFD0957671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31" name="Rectangle 30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0AA8AAE7-D20B-4186-85EE-7A4E8F9C064F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434078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625A5BD-115E-4649-90FC-C7A826E60E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774" y="4485736"/>
            <a:ext cx="5454803" cy="1715039"/>
          </a:xfrm>
          <a:prstGeom prst="rect">
            <a:avLst/>
          </a:prstGeom>
          <a:noFill/>
        </p:spPr>
        <p:txBody>
          <a:bodyPr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b="0"/>
            </a:lvl1pPr>
            <a:lvl2pPr marL="0" indent="0">
              <a:spcBef>
                <a:spcPts val="900"/>
              </a:spcBef>
              <a:buNone/>
              <a:defRPr sz="1600"/>
            </a:lvl2pPr>
            <a:lvl3pPr marL="914400" indent="0">
              <a:spcBef>
                <a:spcPts val="900"/>
              </a:spcBef>
              <a:buNone/>
              <a:defRPr/>
            </a:lvl3pPr>
            <a:lvl4pPr marL="1371600" indent="0">
              <a:spcBef>
                <a:spcPts val="900"/>
              </a:spcBef>
              <a:buNone/>
              <a:defRPr/>
            </a:lvl4pPr>
            <a:lvl5pPr marL="1828800" indent="0">
              <a:spcBef>
                <a:spcPts val="900"/>
              </a:spcBef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  <a:p>
            <a:pPr lvl="1"/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143F037-8805-4E5D-960D-14F60E4851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6085" y="4485735"/>
            <a:ext cx="5454803" cy="1715039"/>
          </a:xfrm>
          <a:prstGeom prst="rect">
            <a:avLst/>
          </a:prstGeom>
          <a:noFill/>
        </p:spPr>
        <p:txBody>
          <a:bodyPr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b="0"/>
            </a:lvl1pPr>
            <a:lvl2pPr marL="0" indent="0">
              <a:spcBef>
                <a:spcPts val="900"/>
              </a:spcBef>
              <a:buNone/>
              <a:defRPr sz="1600"/>
            </a:lvl2pPr>
            <a:lvl3pPr marL="914400" indent="0">
              <a:spcBef>
                <a:spcPts val="900"/>
              </a:spcBef>
              <a:buNone/>
              <a:defRPr/>
            </a:lvl3pPr>
            <a:lvl4pPr marL="1371600" indent="0">
              <a:spcBef>
                <a:spcPts val="900"/>
              </a:spcBef>
              <a:buNone/>
              <a:defRPr/>
            </a:lvl4pPr>
            <a:lvl5pPr marL="1828800" indent="0">
              <a:spcBef>
                <a:spcPts val="900"/>
              </a:spcBef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  <a:p>
            <a:pPr lvl="1"/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160CA6CD-D574-4DD4-816C-71D2845FEEEC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4E49ACB-73AA-479D-9846-EE3AA784EEC1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320794"/>
      </p:ext>
    </p:extLst>
  </p:cSld>
  <p:clrMapOvr>
    <a:masterClrMapping/>
  </p:clrMapOvr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717700" y="1470467"/>
            <a:ext cx="90000" cy="252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865304"/>
      </p:ext>
    </p:extLst>
  </p:cSld>
  <p:clrMapOvr>
    <a:masterClrMapping/>
  </p:clrMapOvr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4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717700" y="1470467"/>
            <a:ext cx="90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140472"/>
      </p:ext>
    </p:extLst>
  </p:cSld>
  <p:clrMapOvr>
    <a:masterClrMapping/>
  </p:clrMapOvr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EAC0A55-B593-4BE8-AE9B-06A0D9B2BD6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163946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598FF2A-9B29-4883-83B8-49C98990E42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7679328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234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-1270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-8467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06233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10466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0200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1470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19740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11274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15507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23974"/>
            <a:ext cx="2899611" cy="19228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8" name="Footer Placeholder 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088D49B9-B5E5-4C99-AE12-1EB10F0D1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711" y="637581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YNAS6NA67CVJ-2065489706-1849</a:t>
            </a:r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3679081"/>
      </p:ext>
    </p:extLst>
  </p:cSld>
  <p:clrMapOvr>
    <a:masterClrMapping/>
  </p:clrMapOvr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874EB9-C1B7-4D46-9DA6-A2B11A2631C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59400" y="2381458"/>
            <a:ext cx="4305301" cy="3877301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72CA7CF4-DEAA-4ED9-8F04-E34E6484B69A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5" name="Rectangle 14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5B08ED5D-42C8-4726-9210-79DBF30A225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436317"/>
      </p:ext>
    </p:extLst>
  </p:cSld>
  <p:clrMapOvr>
    <a:masterClrMapping/>
  </p:clrMapOvr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07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1376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3338354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6"/>
            <a:ext cx="4791075" cy="84967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6339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46D3B98-063B-43D7-A030-0416696CF926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7173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653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6"/>
            <a:ext cx="4791075" cy="84967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715874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50631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874EB9-C1B7-4D46-9DA6-A2B11A2631C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59400" y="2381458"/>
            <a:ext cx="4305301" cy="3877301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9B2077FB-F795-4D6F-8396-754220FF20E8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Rectangle 12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45F1F113-691C-4F0F-AA40-C2F320942539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268847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7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39BEBB2-D2DD-48A6-A2B0-BFA9A93140E0}"/>
              </a:ext>
            </a:extLst>
          </p:cNvPr>
          <p:cNvSpPr/>
          <p:nvPr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Rectangle 5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D13278AA-9DF8-49B8-8A17-F4ADDBBD685F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YNAS6NA67CVJ-2065489706-1849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477063"/>
      </p:ext>
    </p:extLst>
  </p:cSld>
  <p:clrMapOvr>
    <a:masterClrMapping/>
  </p:clrMapOvr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</p:spPr>
        <p:txBody>
          <a:bodyPr/>
          <a:lstStyle>
            <a:lvl1pPr>
              <a:defRPr b="1">
                <a:solidFill>
                  <a:schemeClr val="accent5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01173925"/>
      </p:ext>
    </p:extLst>
  </p:cSld>
  <p:clrMapOvr>
    <a:masterClrMapping/>
  </p:clrMapOvr>
  <p:hf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2B947AB6-B9EC-4DCD-A697-8768A86AED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9401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7088837" y="3750388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5DE36CD-FF11-42C3-ACBB-E915FBB94C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86616" y="2273621"/>
            <a:ext cx="3866262" cy="3651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497E584-507A-4896-B783-12050900D0E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86616" y="3019553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25678E-67B9-4272-9D1B-155D670801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86492" y="3386481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7194157-87FE-4673-8F23-ED0147573D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86491" y="3752833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8D7D729-10E0-47EA-820D-120B63FCEC8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86615" y="2641192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Title</a:t>
            </a:r>
          </a:p>
          <a:p>
            <a:pPr lvl="0"/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0AA70B-57FB-4FBC-B0D2-3D04C7F732E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86492" y="4506817"/>
            <a:ext cx="3866262" cy="36512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ountry</a:t>
            </a:r>
          </a:p>
          <a:p>
            <a:pPr lvl="0"/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3AC9B7A-5DD9-4AC6-9A61-3D65F921C6E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86491" y="4874388"/>
            <a:ext cx="3866262" cy="33140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222797"/>
      </p:ext>
    </p:extLst>
  </p:cSld>
  <p:clrMapOvr>
    <a:masterClrMapping/>
  </p:clrMapOvr>
  <p:hf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7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2B947AB6-B9EC-4DCD-A697-8768A86AED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9401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EAE402-13E4-459D-897A-15E6716F37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9928" y="4940323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E644E19-B05F-478D-BE06-A16AE5C316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59927" y="5271726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6992163-AD60-4475-BDF4-D7D92BE0D1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9927" y="5603129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37918040-0378-4A15-A3CC-EE97742E23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53302" y="4575197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BD9F163-876A-4D41-9F9C-A2B219FA2B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1670" y="4940323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563DE2F-C78D-48F8-9338-D2C4ED0C25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51669" y="5271726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6E7EB1F-88AA-4027-A4C7-73976835BE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51669" y="5603129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E1D38588-09D7-4C07-970E-FA8D765237F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440" y="4575197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CE4CEB3-A6E3-4631-AD91-DCAC27EECE6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82808" y="4940323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4D65DDEF-A203-4F91-B2EE-2DDE530C159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2807" y="5271726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6DD3D5-F405-46D1-BEE1-2B767A54AF6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82807" y="5603129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27F2608-9A22-4360-8CDC-83FCB66BB12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098443" y="4571035"/>
            <a:ext cx="2932771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</a:p>
          <a:p>
            <a:pPr lvl="0"/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2E2DEAC9-C5A7-4388-907F-6FE9AD1B230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96811" y="4936161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rea of expertise</a:t>
            </a:r>
          </a:p>
          <a:p>
            <a:pPr lvl="0"/>
            <a:endParaRPr lang="en-US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944FE2E8-93FF-43F4-ACD3-F569AB5FD21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96810" y="5267564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 err="1"/>
              <a:t>Email@dres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063A5174-46D4-44D7-A182-956C7052AA1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096810" y="5598967"/>
            <a:ext cx="2932771" cy="33140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142344"/>
      </p:ext>
    </p:extLst>
  </p:cSld>
  <p:clrMapOvr>
    <a:masterClrMapping/>
  </p:clrMapOvr>
  <p:hf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Rectangle 11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3B58E392-BC27-4660-AD3C-E955E01232BA}"/>
              </a:ext>
            </a:extLst>
          </p:cNvPr>
          <p:cNvSpPr/>
          <p:nvPr userDrawn="1"/>
        </p:nvSpPr>
        <p:spPr>
          <a:xfrm>
            <a:off x="6518512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YNAS6NA67CVJ-2065489706-1849</a:t>
            </a:r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666900"/>
      </p:ext>
    </p:extLst>
  </p:cSld>
  <p:clrMapOvr>
    <a:masterClrMapping/>
  </p:clrMapOvr>
  <p:hf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000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8237A91-0382-48FB-8427-D26BBD223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96721" y="1958355"/>
            <a:ext cx="4500000" cy="12271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Replace icon and click here to edit text</a:t>
            </a:r>
            <a:endParaRPr lang="da-DK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D885F7B-E142-4D45-8AF4-68A4A08FD1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32600" y="1958355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91BA55F-85D5-4180-8145-B947551198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96721" y="3333893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799AD7F-59F8-4594-BD56-586D9DBBCC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32600" y="3333893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3D22A8D-3594-454E-9B19-5D8606AD2FE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96721" y="4695740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DDA4FD1-520C-476C-85CC-DCDAC25617C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32600" y="4695740"/>
            <a:ext cx="4500000" cy="12271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place icon and click here to edit text</a:t>
            </a:r>
            <a:endParaRPr lang="da-DK" dirty="0"/>
          </a:p>
          <a:p>
            <a:endParaRPr lang="da-DK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446671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image" Target="../media/image13.emf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oleObject" Target="../embeddings/oleObject4.bin"/><Relationship Id="rId8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image" Target="../media/image13.emf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oleObject" Target="../embeddings/oleObject4.bin"/><Relationship Id="rId8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4CF676-C606-4552-9C4E-3E8728CC92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806808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4CF676-C606-4552-9C4E-3E8728CC9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71788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39" r:id="rId15"/>
    <p:sldLayoutId id="2147484540" r:id="rId16"/>
    <p:sldLayoutId id="2147484541" r:id="rId17"/>
    <p:sldLayoutId id="2147484542" r:id="rId18"/>
    <p:sldLayoutId id="2147484543" r:id="rId19"/>
    <p:sldLayoutId id="2147484544" r:id="rId20"/>
    <p:sldLayoutId id="2147484545" r:id="rId21"/>
    <p:sldLayoutId id="2147484546" r:id="rId22"/>
    <p:sldLayoutId id="2147484547" r:id="rId23"/>
    <p:sldLayoutId id="2147484548" r:id="rId24"/>
    <p:sldLayoutId id="2147484549" r:id="rId25"/>
    <p:sldLayoutId id="2147484550" r:id="rId26"/>
    <p:sldLayoutId id="2147484551" r:id="rId27"/>
    <p:sldLayoutId id="2147484552" r:id="rId28"/>
    <p:sldLayoutId id="2147484553" r:id="rId29"/>
    <p:sldLayoutId id="2147484554" r:id="rId30"/>
    <p:sldLayoutId id="2147484555" r:id="rId31"/>
    <p:sldLayoutId id="2147484556" r:id="rId32"/>
    <p:sldLayoutId id="2147484624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A4A3A4"/>
          </p15:clr>
        </p15:guide>
        <p15:guide id="7" pos="7453" userDrawn="1">
          <p15:clr>
            <a:srgbClr val="A4A3A4"/>
          </p15:clr>
        </p15:guide>
        <p15:guide id="8" orient="horz" pos="226" userDrawn="1">
          <p15:clr>
            <a:srgbClr val="A4A3A4"/>
          </p15:clr>
        </p15:guide>
        <p15:guide id="9" orient="horz" pos="3880" userDrawn="1">
          <p15:clr>
            <a:srgbClr val="A4A3A4"/>
          </p15:clr>
        </p15:guide>
        <p15:guide id="10" pos="27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A7767C6-5585-4441-8156-B2A6DCF8C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CA7F51-2348-4EFC-B961-5B37ADC29B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30220"/>
            <a:ext cx="11473200" cy="46467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D126007-7F6F-4183-8544-E56DC0137C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F9823D-A3DB-4B0F-89B0-AC4B63045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07092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53" imgH="353" progId="TCLayout.ActiveDocument.1">
                  <p:embed/>
                </p:oleObj>
              </mc:Choice>
              <mc:Fallback>
                <p:oleObj name="think-cell Slide" r:id="rId3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F9823D-A3DB-4B0F-89B0-AC4B63045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198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  <p:sldLayoutId id="2147484570" r:id="rId12"/>
    <p:sldLayoutId id="2147484571" r:id="rId13"/>
    <p:sldLayoutId id="2147484572" r:id="rId14"/>
    <p:sldLayoutId id="2147484573" r:id="rId15"/>
    <p:sldLayoutId id="2147484574" r:id="rId16"/>
    <p:sldLayoutId id="2147484575" r:id="rId17"/>
    <p:sldLayoutId id="2147484576" r:id="rId18"/>
    <p:sldLayoutId id="2147484577" r:id="rId19"/>
    <p:sldLayoutId id="2147484578" r:id="rId20"/>
    <p:sldLayoutId id="2147484579" r:id="rId21"/>
    <p:sldLayoutId id="2147484580" r:id="rId22"/>
    <p:sldLayoutId id="2147484581" r:id="rId23"/>
    <p:sldLayoutId id="2147484582" r:id="rId24"/>
    <p:sldLayoutId id="2147484583" r:id="rId25"/>
    <p:sldLayoutId id="2147484584" r:id="rId26"/>
    <p:sldLayoutId id="2147484585" r:id="rId27"/>
    <p:sldLayoutId id="2147484586" r:id="rId28"/>
    <p:sldLayoutId id="2147484587" r:id="rId29"/>
    <p:sldLayoutId id="2147484588" r:id="rId30"/>
    <p:sldLayoutId id="2147484589" r:id="rId31"/>
    <p:sldLayoutId id="2147484590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A7767C6-5585-4441-8156-B2A6DCF8C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CA7F51-2348-4EFC-B961-5B37ADC29B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30220"/>
            <a:ext cx="11473200" cy="46467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D126007-7F6F-4183-8544-E56DC0137C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F9823D-A3DB-4B0F-89B0-AC4B63045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919811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53" imgH="353" progId="TCLayout.ActiveDocument.1">
                  <p:embed/>
                </p:oleObj>
              </mc:Choice>
              <mc:Fallback>
                <p:oleObj name="think-cell Slide" r:id="rId3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F9823D-A3DB-4B0F-89B0-AC4B63045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077845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  <p:sldLayoutId id="2147484612" r:id="rId21"/>
    <p:sldLayoutId id="2147484613" r:id="rId22"/>
    <p:sldLayoutId id="2147484614" r:id="rId23"/>
    <p:sldLayoutId id="2147484615" r:id="rId24"/>
    <p:sldLayoutId id="2147484616" r:id="rId25"/>
    <p:sldLayoutId id="2147484617" r:id="rId26"/>
    <p:sldLayoutId id="2147484618" r:id="rId27"/>
    <p:sldLayoutId id="2147484619" r:id="rId28"/>
    <p:sldLayoutId id="2147484620" r:id="rId29"/>
    <p:sldLayoutId id="2147484621" r:id="rId30"/>
    <p:sldLayoutId id="2147484622" r:id="rId31"/>
    <p:sldLayoutId id="2147484623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g"/><Relationship Id="rId10" Type="http://schemas.openxmlformats.org/officeDocument/2006/relationships/image" Target="../media/image25.jpg"/><Relationship Id="rId4" Type="http://schemas.openxmlformats.org/officeDocument/2006/relationships/image" Target="../media/image19.jpeg"/><Relationship Id="rId9" Type="http://schemas.openxmlformats.org/officeDocument/2006/relationships/image" Target="../media/image24.jpeg"/><Relationship Id="rId14" Type="http://schemas.openxmlformats.org/officeDocument/2006/relationships/image" Target="../media/image2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9.xml"/><Relationship Id="rId5" Type="http://schemas.microsoft.com/office/2007/relationships/hdphoto" Target="../media/hdphoto3.wdp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30.jpeg"/><Relationship Id="rId5" Type="http://schemas.openxmlformats.org/officeDocument/2006/relationships/image" Target="../media/image20.jpg"/><Relationship Id="rId10" Type="http://schemas.openxmlformats.org/officeDocument/2006/relationships/image" Target="../media/image34.jpe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1.JP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912536C-E3CD-47C5-9B4F-54AFAE362C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20C6833-85F1-4591-9018-B10B7723364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sp>
      <p:pic>
        <p:nvPicPr>
          <p:cNvPr id="21" name="Picture Placeholder 20" descr="A picture containing indoor&#10;&#10;Description automatically generated">
            <a:extLst>
              <a:ext uri="{FF2B5EF4-FFF2-40B4-BE49-F238E27FC236}">
                <a16:creationId xmlns:a16="http://schemas.microsoft.com/office/drawing/2014/main" id="{B78EA58D-6C7A-4782-8551-A6454D6DEDD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11" b="5811"/>
          <a:stretch>
            <a:fillRect/>
          </a:stretch>
        </p:blipFill>
        <p:spPr/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8596A202-31B0-492A-B9BE-4DA656A07E6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44" r="25144"/>
          <a:stretch>
            <a:fillRect/>
          </a:stretch>
        </p:blipFill>
        <p:spPr>
          <a:xfrm rot="5400000">
            <a:off x="6683375" y="-488950"/>
            <a:ext cx="1922463" cy="2900363"/>
          </a:xfr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9CACEEA-9603-42A8-BBFE-5F9F453BB0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16055B3-7721-468E-BC98-CE36A6C82F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sp>
      <p:pic>
        <p:nvPicPr>
          <p:cNvPr id="31" name="Picture Placeholder 30">
            <a:extLst>
              <a:ext uri="{FF2B5EF4-FFF2-40B4-BE49-F238E27FC236}">
                <a16:creationId xmlns:a16="http://schemas.microsoft.com/office/drawing/2014/main" id="{5B3F1A06-EDCB-49AC-BE18-1F8FB683624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" b="287"/>
          <a:stretch>
            <a:fillRect/>
          </a:stretch>
        </p:blipFill>
        <p:spPr/>
      </p:pic>
      <p:pic>
        <p:nvPicPr>
          <p:cNvPr id="23" name="Picture Placeholder 22" descr="A picture containing miller&#10;&#10;Description automatically generated">
            <a:extLst>
              <a:ext uri="{FF2B5EF4-FFF2-40B4-BE49-F238E27FC236}">
                <a16:creationId xmlns:a16="http://schemas.microsoft.com/office/drawing/2014/main" id="{3D6DBEF9-0D22-4120-8955-2B046D3691F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6" b="2226"/>
          <a:stretch>
            <a:fillRect/>
          </a:stretch>
        </p:blipFill>
        <p:spPr/>
      </p:pic>
      <p:pic>
        <p:nvPicPr>
          <p:cNvPr id="6" name="Picture Placeholder 5" descr="A picture containing indoor, close, helmet&#10;&#10;Description automatically generated">
            <a:extLst>
              <a:ext uri="{FF2B5EF4-FFF2-40B4-BE49-F238E27FC236}">
                <a16:creationId xmlns:a16="http://schemas.microsoft.com/office/drawing/2014/main" id="{DCD10845-4203-4BCD-B5E8-70BE992E862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44" r="25144"/>
          <a:stretch>
            <a:fillRect/>
          </a:stretch>
        </p:blipFill>
        <p:spPr>
          <a:xfrm rot="5400000">
            <a:off x="488950" y="3752850"/>
            <a:ext cx="1922463" cy="2900363"/>
          </a:xfrm>
        </p:spPr>
      </p:pic>
      <p:pic>
        <p:nvPicPr>
          <p:cNvPr id="25" name="Picture Placeholder 24" descr="A picture containing indoor, cluttered&#10;&#10;Description automatically generated">
            <a:extLst>
              <a:ext uri="{FF2B5EF4-FFF2-40B4-BE49-F238E27FC236}">
                <a16:creationId xmlns:a16="http://schemas.microsoft.com/office/drawing/2014/main" id="{BA6BFCAA-A4D6-433F-B9D4-FD432552978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" b="287"/>
          <a:stretch>
            <a:fillRect/>
          </a:stretch>
        </p:blipFill>
        <p:spPr/>
      </p:pic>
      <p:pic>
        <p:nvPicPr>
          <p:cNvPr id="33" name="Picture Placeholder 3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3CB81D2B-EF31-4A74-99E6-F5B420E903AD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44" b="25144"/>
          <a:stretch>
            <a:fillRect/>
          </a:stretch>
        </p:blipFill>
        <p:spPr/>
      </p:pic>
      <p:pic>
        <p:nvPicPr>
          <p:cNvPr id="29" name="Picture Placeholder 28" descr="A picture containing indoor, person, toilet&#10;&#10;Description automatically generated">
            <a:extLst>
              <a:ext uri="{FF2B5EF4-FFF2-40B4-BE49-F238E27FC236}">
                <a16:creationId xmlns:a16="http://schemas.microsoft.com/office/drawing/2014/main" id="{AA36B8B0-D424-4870-9B8F-4508CD0F49DA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358" b="31358"/>
          <a:stretch>
            <a:fillRect/>
          </a:stretch>
        </p:blipFill>
        <p:spPr/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755A64-8CAC-47AC-93DB-FDE781CDF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71049"/>
              </p:ext>
            </p:extLst>
          </p:nvPr>
        </p:nvGraphicFramePr>
        <p:xfrm>
          <a:off x="548492" y="619312"/>
          <a:ext cx="4042261" cy="2929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389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194136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3456000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194136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01600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101600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1524959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3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Hvor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langt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ned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kal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 man </a:t>
                      </a:r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blødgøre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?</a:t>
                      </a: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515566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</a:rPr>
                        <a:t>Camilla Tang </a:t>
                      </a:r>
                      <a:endParaRPr lang="en-US" sz="16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Palatino Linotype" panose="02040502050505030304" pitchFamily="18" charset="0"/>
                      </a:endParaRP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cap="none" dirty="0" err="1">
                          <a:solidFill>
                            <a:schemeClr val="tx1"/>
                          </a:solidFill>
                          <a:latin typeface="+mn-lt"/>
                        </a:rPr>
                        <a:t>Blødgøringsseminar</a:t>
                      </a:r>
                      <a:r>
                        <a:rPr lang="en-U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algn="l"/>
                      <a:r>
                        <a:rPr lang="en-U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7. </a:t>
                      </a:r>
                      <a:r>
                        <a:rPr lang="en-US" sz="1400" cap="none" dirty="0" err="1">
                          <a:solidFill>
                            <a:schemeClr val="tx1"/>
                          </a:solidFill>
                          <a:latin typeface="+mn-lt"/>
                        </a:rPr>
                        <a:t>december</a:t>
                      </a:r>
                      <a:r>
                        <a:rPr lang="en-U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 2021</a:t>
                      </a:r>
                      <a:endParaRPr lang="en-US" sz="1400" cap="all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101600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  <p:sp>
        <p:nvSpPr>
          <p:cNvPr id="19" name="Rectangle 1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33EA30CF-029C-443B-838F-D0880B1703BD}"/>
              </a:ext>
            </a:extLst>
          </p:cNvPr>
          <p:cNvSpPr/>
          <p:nvPr/>
        </p:nvSpPr>
        <p:spPr>
          <a:xfrm>
            <a:off x="548492" y="6367616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600">
                <a:solidFill>
                  <a:schemeClr val="accent3"/>
                </a:solidFill>
              </a:rPr>
              <a:t>YNAS6NA67CVJ-2065489706-1849</a:t>
            </a:r>
            <a:endParaRPr lang="en-GB" sz="6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162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74679922-CC49-42BE-9EC4-EDBEEFC4C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alkudfældningspotentialet siger også noget om korrosion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93BD955-1647-4F75-919E-C627299B21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525D9F6-FACF-4CF0-88D7-A7AFF291556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CC6AB729-E435-437D-B67A-C258C71EF6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128" y="3237411"/>
            <a:ext cx="5035744" cy="164220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3F66881-3690-46C5-AFB1-259A40B14E44}"/>
              </a:ext>
            </a:extLst>
          </p:cNvPr>
          <p:cNvSpPr txBox="1"/>
          <p:nvPr/>
        </p:nvSpPr>
        <p:spPr>
          <a:xfrm>
            <a:off x="3960704" y="2315827"/>
            <a:ext cx="47763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CPP</a:t>
            </a:r>
            <a:r>
              <a:rPr kumimoji="0" lang="da-DK" sz="3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0 </a:t>
            </a:r>
            <a:r>
              <a:rPr kumimoji="0" lang="da-DK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gt; 0,0 mmol/L</a:t>
            </a:r>
            <a:r>
              <a:rPr kumimoji="0" lang="da-DK" sz="3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40312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CE83D-294A-4C7F-84EA-3676D3573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 langt ned skal man blødgør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10C95-D36F-4B34-9D48-7C927DF589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A0F8BE9-2837-4417-B33A-70D3CA5ECBD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3A89EC-1B9F-47FC-8A90-C5C47980F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005EB31-19FF-4951-984F-F9E8DBC798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38"/>
          <a:stretch/>
        </p:blipFill>
        <p:spPr>
          <a:xfrm>
            <a:off x="6096000" y="4986292"/>
            <a:ext cx="1127036" cy="41819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E149F7B-9AF9-4715-9315-BFE8FDE4331C}"/>
              </a:ext>
            </a:extLst>
          </p:cNvPr>
          <p:cNvSpPr/>
          <p:nvPr/>
        </p:nvSpPr>
        <p:spPr bwMode="auto">
          <a:xfrm>
            <a:off x="753209" y="1530220"/>
            <a:ext cx="309291" cy="4680646"/>
          </a:xfrm>
          <a:prstGeom prst="rect">
            <a:avLst/>
          </a:prstGeom>
          <a:solidFill>
            <a:srgbClr val="E2E9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endParaRPr lang="da-DK" sz="1600" dirty="0" err="1">
              <a:solidFill>
                <a:srgbClr val="FFFFFF"/>
              </a:solidFill>
              <a:latin typeface="Arial"/>
              <a:ea typeface="ＭＳ Ｐゴシック" pitchFamily="-80" charset="-128"/>
            </a:endParaRPr>
          </a:p>
        </p:txBody>
      </p:sp>
      <p:sp>
        <p:nvSpPr>
          <p:cNvPr id="20" name="Right Brace 19">
            <a:extLst>
              <a:ext uri="{FF2B5EF4-FFF2-40B4-BE49-F238E27FC236}">
                <a16:creationId xmlns:a16="http://schemas.microsoft.com/office/drawing/2014/main" id="{B85404CF-A4F8-4F44-B0FC-A7D9C28A17A7}"/>
              </a:ext>
            </a:extLst>
          </p:cNvPr>
          <p:cNvSpPr/>
          <p:nvPr/>
        </p:nvSpPr>
        <p:spPr bwMode="auto">
          <a:xfrm>
            <a:off x="1530057" y="1532477"/>
            <a:ext cx="252634" cy="2770547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ＭＳ Ｐゴシック" pitchFamily="-80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ABD742-D18F-44FE-8008-42B9F5122D7C}"/>
              </a:ext>
            </a:extLst>
          </p:cNvPr>
          <p:cNvSpPr txBox="1"/>
          <p:nvPr/>
        </p:nvSpPr>
        <p:spPr>
          <a:xfrm>
            <a:off x="1937194" y="2791304"/>
            <a:ext cx="166071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Blødgøringsdybd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DCEEC3F-879D-4A83-9F7D-D44CD0828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277" y="3943459"/>
            <a:ext cx="681918" cy="70919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525D659-D25E-4E91-8C75-458EF77BD13B}"/>
              </a:ext>
            </a:extLst>
          </p:cNvPr>
          <p:cNvSpPr txBox="1"/>
          <p:nvPr/>
        </p:nvSpPr>
        <p:spPr>
          <a:xfrm>
            <a:off x="2191880" y="4213816"/>
            <a:ext cx="394979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Maksimere gevinster </a:t>
            </a: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  <a:sym typeface="Wingdings" panose="05000000000000000000" pitchFamily="2" charset="2"/>
              </a:rPr>
              <a:t> Reducere CCPP</a:t>
            </a:r>
            <a:r>
              <a:rPr lang="da-DK" sz="1600" baseline="-25000" dirty="0">
                <a:solidFill>
                  <a:srgbClr val="000000"/>
                </a:solidFill>
                <a:latin typeface="Arial"/>
                <a:ea typeface="ＭＳ Ｐゴシック" pitchFamily="-80" charset="-128"/>
                <a:sym typeface="Wingdings" panose="05000000000000000000" pitchFamily="2" charset="2"/>
              </a:rPr>
              <a:t>90</a:t>
            </a:r>
            <a:endParaRPr lang="da-DK" sz="1600" baseline="-25000" dirty="0">
              <a:solidFill>
                <a:srgbClr val="000000"/>
              </a:solidFill>
              <a:latin typeface="Arial"/>
              <a:ea typeface="ＭＳ Ｐゴシック" pitchFamily="-80" charset="-128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0DD195-6622-4D53-A4AF-423FD5F4575B}"/>
              </a:ext>
            </a:extLst>
          </p:cNvPr>
          <p:cNvSpPr txBox="1"/>
          <p:nvPr/>
        </p:nvSpPr>
        <p:spPr>
          <a:xfrm>
            <a:off x="532751" y="6262840"/>
            <a:ext cx="750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</a:pPr>
            <a:r>
              <a:rPr lang="da-DK" sz="1200" i="1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Hårdt van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41583BD-BD92-4535-8249-48B131098341}"/>
              </a:ext>
            </a:extLst>
          </p:cNvPr>
          <p:cNvSpPr txBox="1"/>
          <p:nvPr/>
        </p:nvSpPr>
        <p:spPr>
          <a:xfrm>
            <a:off x="1398696" y="6262840"/>
            <a:ext cx="73417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</a:pPr>
            <a:r>
              <a:rPr lang="da-DK" sz="1200" i="1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Blødt van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1D18912-D995-4AE0-A4A6-7450A2BC326B}"/>
              </a:ext>
            </a:extLst>
          </p:cNvPr>
          <p:cNvSpPr/>
          <p:nvPr/>
        </p:nvSpPr>
        <p:spPr bwMode="auto">
          <a:xfrm>
            <a:off x="1415032" y="4336927"/>
            <a:ext cx="309291" cy="1840036"/>
          </a:xfrm>
          <a:prstGeom prst="rect">
            <a:avLst/>
          </a:prstGeom>
          <a:solidFill>
            <a:srgbClr val="EED5C4"/>
          </a:solidFill>
          <a:ln w="9525" cap="flat" cmpd="sng" algn="ctr">
            <a:solidFill>
              <a:srgbClr val="EED5C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endParaRPr lang="da-DK" sz="1600" dirty="0" err="1">
              <a:solidFill>
                <a:srgbClr val="FFFFFF"/>
              </a:solidFill>
              <a:latin typeface="Arial"/>
              <a:ea typeface="ＭＳ Ｐゴシック" pitchFamily="-80" charset="-128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91A0C0D-0D23-4EDB-AFEC-F600711EFECF}"/>
              </a:ext>
            </a:extLst>
          </p:cNvPr>
          <p:cNvCxnSpPr/>
          <p:nvPr/>
        </p:nvCxnSpPr>
        <p:spPr bwMode="auto">
          <a:xfrm flipV="1">
            <a:off x="1530057" y="4324260"/>
            <a:ext cx="498193" cy="12667"/>
          </a:xfrm>
          <a:prstGeom prst="straightConnector1">
            <a:avLst/>
          </a:prstGeom>
          <a:solidFill>
            <a:srgbClr val="990000"/>
          </a:solidFill>
          <a:ln w="38100" cap="flat" cmpd="sng" algn="ctr">
            <a:solidFill>
              <a:srgbClr val="E2E9E5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0EAD95C-C242-443A-86DB-0C88E519DB8C}"/>
              </a:ext>
            </a:extLst>
          </p:cNvPr>
          <p:cNvSpPr txBox="1"/>
          <p:nvPr/>
        </p:nvSpPr>
        <p:spPr>
          <a:xfrm>
            <a:off x="2076855" y="5072278"/>
            <a:ext cx="386644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Undgå korrosion </a:t>
            </a: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  <a:sym typeface="Wingdings" panose="05000000000000000000" pitchFamily="2" charset="2"/>
              </a:rPr>
              <a:t> CCPP</a:t>
            </a:r>
            <a:r>
              <a:rPr lang="da-DK" sz="1600" baseline="-25000" dirty="0">
                <a:solidFill>
                  <a:srgbClr val="000000"/>
                </a:solidFill>
                <a:latin typeface="Arial"/>
                <a:ea typeface="ＭＳ Ｐゴシック" pitchFamily="-80" charset="-128"/>
                <a:sym typeface="Wingdings" panose="05000000000000000000" pitchFamily="2" charset="2"/>
              </a:rPr>
              <a:t>10</a:t>
            </a: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  <a:sym typeface="Wingdings" panose="05000000000000000000" pitchFamily="2" charset="2"/>
              </a:rPr>
              <a:t> &gt; 0,0 mmol/L</a:t>
            </a:r>
            <a:endParaRPr lang="da-DK" sz="1600" dirty="0">
              <a:solidFill>
                <a:srgbClr val="000000"/>
              </a:solidFill>
              <a:latin typeface="Arial"/>
              <a:ea typeface="ＭＳ Ｐゴシック" pitchFamily="-80" charset="-128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EDF30BF-7AEC-4C95-A410-6102755FF5C6}"/>
              </a:ext>
            </a:extLst>
          </p:cNvPr>
          <p:cNvCxnSpPr/>
          <p:nvPr/>
        </p:nvCxnSpPr>
        <p:spPr bwMode="auto">
          <a:xfrm flipV="1">
            <a:off x="1516688" y="5200456"/>
            <a:ext cx="498193" cy="12667"/>
          </a:xfrm>
          <a:prstGeom prst="straightConnector1">
            <a:avLst/>
          </a:prstGeom>
          <a:solidFill>
            <a:srgbClr val="990000"/>
          </a:solidFill>
          <a:ln w="38100" cap="flat" cmpd="sng" algn="ctr">
            <a:solidFill>
              <a:srgbClr val="E2E9E5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82F118B-4C22-48F3-92FA-6FEBF499C59D}"/>
              </a:ext>
            </a:extLst>
          </p:cNvPr>
          <p:cNvSpPr/>
          <p:nvPr/>
        </p:nvSpPr>
        <p:spPr>
          <a:xfrm>
            <a:off x="6268276" y="1940167"/>
            <a:ext cx="4141889" cy="11448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andes vandet med andre vandtyper</a:t>
            </a:r>
            <a:r>
              <a:rPr kumimoji="0" lang="da-DK" sz="1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i ledningsnettet?</a:t>
            </a: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8C2C8A7-15CB-48FF-977C-FB00C7C3F364}"/>
              </a:ext>
            </a:extLst>
          </p:cNvPr>
          <p:cNvSpPr/>
          <p:nvPr/>
        </p:nvSpPr>
        <p:spPr>
          <a:xfrm>
            <a:off x="9576904" y="3200592"/>
            <a:ext cx="1959078" cy="11448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Økonomi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F6B1D4F-9B12-47AC-AECC-E5A985D1B7C9}"/>
              </a:ext>
            </a:extLst>
          </p:cNvPr>
          <p:cNvSpPr/>
          <p:nvPr/>
        </p:nvSpPr>
        <p:spPr>
          <a:xfrm>
            <a:off x="8000180" y="4517520"/>
            <a:ext cx="2409985" cy="11448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knologivalg</a:t>
            </a:r>
          </a:p>
        </p:txBody>
      </p:sp>
    </p:spTree>
    <p:extLst>
      <p:ext uri="{BB962C8B-B14F-4D97-AF65-F5344CB8AC3E}">
        <p14:creationId xmlns:p14="http://schemas.microsoft.com/office/powerpoint/2010/main" val="114314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8" grpId="0"/>
      <p:bldP spid="30" grpId="0" animBg="1"/>
      <p:bldP spid="31" grpId="0" animBg="1"/>
      <p:bldP spid="3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2C24-CF3E-4C64-931B-EDD7EA89A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r vandets hårdhed ligegyldig???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029E5DB-F85E-45F9-80AC-3202D199CE5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2A5F7F-BDFC-4228-976F-14B07B33B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BE2BF4-36D5-4CDC-A8B4-222F1074C4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6970" b="9778"/>
          <a:stretch/>
        </p:blipFill>
        <p:spPr>
          <a:xfrm>
            <a:off x="5808617" y="3772197"/>
            <a:ext cx="3776840" cy="23066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7B1A5B5-18C2-46DD-BEBC-0DB56C537AF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0340259">
            <a:off x="3477018" y="3193008"/>
            <a:ext cx="2425053" cy="3068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9DB379-8D7B-42C2-B837-3331D0780F8B}"/>
              </a:ext>
            </a:extLst>
          </p:cNvPr>
          <p:cNvSpPr txBox="1"/>
          <p:nvPr/>
        </p:nvSpPr>
        <p:spPr>
          <a:xfrm>
            <a:off x="5025194" y="2072768"/>
            <a:ext cx="2141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7200" b="1" dirty="0">
                <a:solidFill>
                  <a:schemeClr val="accent6"/>
                </a:solidFill>
              </a:rPr>
              <a:t>NEJ!</a:t>
            </a:r>
          </a:p>
        </p:txBody>
      </p:sp>
    </p:spTree>
    <p:extLst>
      <p:ext uri="{BB962C8B-B14F-4D97-AF65-F5344CB8AC3E}">
        <p14:creationId xmlns:p14="http://schemas.microsoft.com/office/powerpoint/2010/main" val="113589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40B411-8ADB-4154-BAAC-D3A1118A79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8000" y="1581150"/>
            <a:ext cx="5040000" cy="859846"/>
          </a:xfrm>
        </p:spPr>
        <p:txBody>
          <a:bodyPr>
            <a:normAutofit fontScale="92500" lnSpcReduction="20000"/>
          </a:bodyPr>
          <a:lstStyle/>
          <a:p>
            <a:r>
              <a:rPr lang="da-DK" sz="7400" dirty="0"/>
              <a:t>Korros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 Placeholder 9">
                <a:extLst>
                  <a:ext uri="{FF2B5EF4-FFF2-40B4-BE49-F238E27FC236}">
                    <a16:creationId xmlns:a16="http://schemas.microsoft.com/office/drawing/2014/main" id="{D8E1ECD9-D3D0-4AFC-B283-CE4921D2850A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da-DK" b="1" dirty="0"/>
                  <a:t>Dansk Standard DS 439</a:t>
                </a:r>
              </a:p>
              <a:p>
                <a:pPr marL="0" indent="0">
                  <a:buNone/>
                </a:pPr>
                <a:endParaRPr lang="da-DK" b="1" dirty="0"/>
              </a:p>
              <a:p>
                <a:pPr marL="0" indent="0">
                  <a:buNone/>
                </a:pPr>
                <a:r>
                  <a:rPr lang="da-DK" dirty="0"/>
                  <a:t>Varmforzinket stål: 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f>
                      <m:fPr>
                        <m:ctrlPr>
                          <a:rPr lang="da-DK" i="1" smtClean="0">
                            <a:effectLst/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fPr>
                      <m:num>
                        <m:d>
                          <m:dPr>
                            <m:begChr m:val="["/>
                            <m:endChr m:val="]"/>
                            <m:ctrlPr>
                              <a:rPr lang="da-DK" i="1">
                                <a:effectLst/>
                                <a:latin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en-US" sz="1800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C</m:t>
                            </m:r>
                            <m:sSup>
                              <m:sSupPr>
                                <m:ctrlPr>
                                  <a:rPr lang="da-DK" i="1">
                                    <a:effectLst/>
                                    <a:latin typeface="Cambria Math" panose="02040503050406030204" pitchFamily="18" charset="0"/>
                                    <a:cs typeface="Calibri" panose="020F0502020204030204" pitchFamily="34" charset="0"/>
                                  </a:rPr>
                                </m:ctrlPr>
                              </m:sSupPr>
                              <m:e>
                                <m:r>
                                  <m:rPr>
                                    <m:nor/>
                                  </m:rPr>
                                  <a:rPr lang="en-US" sz="1800">
                                    <a:effectLst/>
                                    <a:latin typeface="Calibri" panose="020F0502020204030204" pitchFamily="34" charset="0"/>
                                    <a:ea typeface="Calibri" panose="020F0502020204030204" pitchFamily="34" charset="0"/>
                                  </a:rPr>
                                  <m:t>l</m:t>
                                </m:r>
                              </m:e>
                              <m:sup>
                                <m:r>
                                  <m:rPr>
                                    <m:nor/>
                                  </m:rPr>
                                  <a:rPr lang="en-US" sz="1800" i="1">
                                    <a:effectLst/>
                                    <a:latin typeface="Calibri" panose="020F0502020204030204" pitchFamily="34" charset="0"/>
                                    <a:ea typeface="Calibri" panose="020F0502020204030204" pitchFamily="34" charset="0"/>
                                  </a:rPr>
                                  <m:t>−</m:t>
                                </m:r>
                              </m:sup>
                            </m:sSup>
                          </m:e>
                        </m:d>
                        <m:r>
                          <m:rPr>
                            <m:nor/>
                          </m:rPr>
                          <a:rPr lang="en-US" sz="18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</a:rPr>
                          <m:t>+2[</m:t>
                        </m:r>
                        <m:r>
                          <m:rPr>
                            <m:nor/>
                          </m:rPr>
                          <a:rPr lang="en-US" sz="18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</a:rPr>
                          <m:t>S</m:t>
                        </m:r>
                        <m:sSubSup>
                          <m:sSubSupPr>
                            <m:ctrlPr>
                              <a:rPr lang="da-DK" i="1">
                                <a:effectLst/>
                                <a:latin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sSubSupPr>
                          <m:e>
                            <m:r>
                              <m:rPr>
                                <m:nor/>
                              </m:rPr>
                              <a:rPr lang="en-US" sz="1800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O</m:t>
                            </m:r>
                          </m:e>
                          <m:sub>
                            <m:r>
                              <m:rPr>
                                <m:nor/>
                              </m:rPr>
                              <a:rPr lang="en-US" sz="1800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4</m:t>
                            </m:r>
                          </m:sub>
                          <m:sup>
                            <m:r>
                              <m:rPr>
                                <m:nor/>
                              </m:rPr>
                              <a:rPr lang="en-US" sz="1800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2</m:t>
                            </m:r>
                            <m:r>
                              <m:rPr>
                                <m:nor/>
                              </m:rPr>
                              <a:rPr lang="en-US" sz="1800" i="1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−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18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</a:rPr>
                          <m:t>]</m:t>
                        </m:r>
                      </m:num>
                      <m:den>
                        <m:r>
                          <m:rPr>
                            <m:nor/>
                          </m:rPr>
                          <a:rPr lang="en-US" sz="18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</a:rPr>
                          <m:t>[</m:t>
                        </m:r>
                        <m:r>
                          <m:rPr>
                            <m:nor/>
                          </m:rPr>
                          <a:rPr lang="en-US" sz="18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</a:rPr>
                          <m:t>HC</m:t>
                        </m:r>
                        <m:sSubSup>
                          <m:sSubSupPr>
                            <m:ctrlPr>
                              <a:rPr lang="da-DK" i="1">
                                <a:effectLst/>
                                <a:latin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sSubSupPr>
                          <m:e>
                            <m:r>
                              <m:rPr>
                                <m:nor/>
                              </m:rPr>
                              <a:rPr lang="en-US" sz="1800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O</m:t>
                            </m:r>
                          </m:e>
                          <m:sub>
                            <m:r>
                              <m:rPr>
                                <m:nor/>
                              </m:rPr>
                              <a:rPr lang="en-US" sz="1800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3</m:t>
                            </m:r>
                          </m:sub>
                          <m:sup>
                            <m:r>
                              <m:rPr>
                                <m:nor/>
                              </m:rPr>
                              <a:rPr lang="en-US" sz="1800" i="1">
                                <a:effectLst/>
                                <a:latin typeface="Calibri" panose="020F0502020204030204" pitchFamily="34" charset="0"/>
                                <a:ea typeface="Calibri" panose="020F0502020204030204" pitchFamily="34" charset="0"/>
                              </a:rPr>
                              <m:t>−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18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</a:rPr>
                          <m:t>]</m:t>
                        </m:r>
                      </m:den>
                    </m:f>
                  </m:oMath>
                </a14:m>
                <a:r>
                  <a:rPr lang="en-GB" sz="18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</a:rPr>
                  <a:t>  &lt; 1 </a:t>
                </a:r>
              </a:p>
              <a:p>
                <a:pPr marL="0" indent="0">
                  <a:buNone/>
                </a:pPr>
                <a:endParaRPr lang="da-DK" b="1" dirty="0"/>
              </a:p>
              <a:p>
                <a:pPr marL="0" indent="0">
                  <a:buNone/>
                </a:pPr>
                <a:r>
                  <a:rPr lang="da-DK" b="1" dirty="0"/>
                  <a:t>Påvirkes af blødgøring</a:t>
                </a:r>
              </a:p>
              <a:p>
                <a:pPr marL="0" indent="0">
                  <a:buNone/>
                </a:pPr>
                <a:endParaRPr lang="da-DK" dirty="0"/>
              </a:p>
              <a:p>
                <a:pPr marL="0" indent="0">
                  <a:buNone/>
                </a:pPr>
                <a:endParaRPr lang="da-DK" dirty="0"/>
              </a:p>
              <a:p>
                <a:endParaRPr lang="da-DK" dirty="0"/>
              </a:p>
            </p:txBody>
          </p:sp>
        </mc:Choice>
        <mc:Fallback>
          <p:sp>
            <p:nvSpPr>
              <p:cNvPr id="10" name="Text Placeholder 9">
                <a:extLst>
                  <a:ext uri="{FF2B5EF4-FFF2-40B4-BE49-F238E27FC236}">
                    <a16:creationId xmlns:a16="http://schemas.microsoft.com/office/drawing/2014/main" id="{D8E1ECD9-D3D0-4AFC-B283-CE4921D2850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blipFill>
                <a:blip r:embed="rId2"/>
                <a:stretch>
                  <a:fillRect l="-726" t="-1891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8D2DB4A-2AB2-4AF5-8656-E2BA6CEFA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000" y="4279900"/>
            <a:ext cx="5040000" cy="2578100"/>
          </a:xfrm>
        </p:spPr>
        <p:txBody>
          <a:bodyPr/>
          <a:lstStyle/>
          <a:p>
            <a:r>
              <a:rPr lang="da-DK" dirty="0"/>
              <a:t>Komplekst fænomen</a:t>
            </a:r>
          </a:p>
          <a:p>
            <a:endParaRPr lang="da-DK" dirty="0"/>
          </a:p>
          <a:p>
            <a:r>
              <a:rPr lang="da-DK" dirty="0"/>
              <a:t>Samspil mellem vandkemi, materialer og mikrobiolog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51FC9E-2A62-4876-9D11-4B25A2733A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75400"/>
            <a:ext cx="511175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23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A70BA16B-CCCD-4F33-9CBD-3821EEB881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010" y="4249675"/>
            <a:ext cx="4858628" cy="158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620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A46DBC-EFB8-4024-9FD4-0271F4C26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psummer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FA7C90-98FD-4DE8-9F62-472020055F5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10A69A-DBD6-4F16-B796-B1D90E375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02567915-D7DC-4A2A-B65A-9CA2A342687A}"/>
              </a:ext>
            </a:extLst>
          </p:cNvPr>
          <p:cNvSpPr txBox="1">
            <a:spLocks/>
          </p:cNvSpPr>
          <p:nvPr/>
        </p:nvSpPr>
        <p:spPr>
          <a:xfrm>
            <a:off x="1352548" y="2938594"/>
            <a:ext cx="7798079" cy="1227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>
                <a:solidFill>
                  <a:srgbClr val="000000"/>
                </a:solidFill>
                <a:latin typeface="Segoe UI"/>
              </a:rPr>
              <a:t>Kalkudfældningspotentialet (CCPP) kan bruges til at vurdere potentialet for blødgøring, sammenligne teknologier og vurdere hvor langt ned man skal blødgøre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07934C3C-31CA-47DF-96EA-AB641D9F0BA8}"/>
              </a:ext>
            </a:extLst>
          </p:cNvPr>
          <p:cNvSpPr txBox="1">
            <a:spLocks/>
          </p:cNvSpPr>
          <p:nvPr/>
        </p:nvSpPr>
        <p:spPr>
          <a:xfrm>
            <a:off x="1352550" y="4102268"/>
            <a:ext cx="7798077" cy="1227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andkvalitet bør indgå i vurderingen af blødgøringsteknologier</a:t>
            </a:r>
            <a:r>
              <a:rPr kumimoji="0" lang="da-DK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ammen med de øvrige aspekter (økonomi, fysiske rammer, bæredygtighed m.m.)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1" name="Graphic 20" descr="Water">
            <a:extLst>
              <a:ext uri="{FF2B5EF4-FFF2-40B4-BE49-F238E27FC236}">
                <a16:creationId xmlns:a16="http://schemas.microsoft.com/office/drawing/2014/main" id="{6B8EA4DA-B724-4586-A6CB-4D6F116E8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" y="1431512"/>
            <a:ext cx="914400" cy="914400"/>
          </a:xfrm>
          <a:prstGeom prst="rect">
            <a:avLst/>
          </a:prstGeom>
        </p:spPr>
      </p:pic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EE283217-5968-445C-9D66-D1D174503335}"/>
              </a:ext>
            </a:extLst>
          </p:cNvPr>
          <p:cNvSpPr txBox="1">
            <a:spLocks/>
          </p:cNvSpPr>
          <p:nvPr/>
        </p:nvSpPr>
        <p:spPr>
          <a:xfrm>
            <a:off x="1352548" y="1774919"/>
            <a:ext cx="7474209" cy="1227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>
                <a:solidFill>
                  <a:srgbClr val="000000"/>
                </a:solidFill>
                <a:latin typeface="Segoe UI"/>
              </a:rPr>
              <a:t>Blødgøringsteknologierne påvirker vandets mineralsammensætning forskelligt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5" name="Graphic 24" descr="Water">
            <a:extLst>
              <a:ext uri="{FF2B5EF4-FFF2-40B4-BE49-F238E27FC236}">
                <a16:creationId xmlns:a16="http://schemas.microsoft.com/office/drawing/2014/main" id="{8CFC8983-9EBE-4C5D-A6AE-F114B61B4B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" y="3896059"/>
            <a:ext cx="914400" cy="914400"/>
          </a:xfrm>
          <a:prstGeom prst="rect">
            <a:avLst/>
          </a:prstGeom>
        </p:spPr>
      </p:pic>
      <p:pic>
        <p:nvPicPr>
          <p:cNvPr id="26" name="Graphic 25" descr="Water">
            <a:extLst>
              <a:ext uri="{FF2B5EF4-FFF2-40B4-BE49-F238E27FC236}">
                <a16:creationId xmlns:a16="http://schemas.microsoft.com/office/drawing/2014/main" id="{209DFACE-C815-4F74-8214-380B8642F7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" y="268518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7790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05368-E9E7-4C77-84CA-5BD343977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Tak for opmærksomheden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C3FB3E-02D2-4CE0-8C26-107D51198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589A4AA-7D15-4F35-B216-2E95160DA3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BA9EEFFB-93D6-45A9-9BF3-CAC0AD45EDF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5" b="7725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64C3C4-1A64-4522-AAE5-C12A629903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a-DK" dirty="0"/>
              <a:t>Camilla Tang	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5B6C72-B810-4D9F-803F-4742E702154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>
            <a:normAutofit lnSpcReduction="10000"/>
          </a:bodyPr>
          <a:lstStyle/>
          <a:p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6722E58-78FC-4300-BCC6-C7F86143DD2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cta@niras.dk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1F9B61-B269-4D3F-AD2F-C6C5621C757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2373 9679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06BF296-C50C-4922-AB56-2334113F7C6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Specialist, ph.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A7127A9-0DB5-49A8-8F42-A386634CB0D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da-DK" dirty="0"/>
              <a:t>NIRA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CC284CC-C0FC-4C51-907D-C8A5BA823DB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Sortemosevej 19, 3450 Allerød</a:t>
            </a:r>
          </a:p>
        </p:txBody>
      </p:sp>
    </p:spTree>
    <p:extLst>
      <p:ext uri="{BB962C8B-B14F-4D97-AF65-F5344CB8AC3E}">
        <p14:creationId xmlns:p14="http://schemas.microsoft.com/office/powerpoint/2010/main" val="40904964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B6DC92-4958-406F-A51F-810B2EF38F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B6DC92-4958-406F-A51F-810B2EF38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6E90481-FB0C-4C37-A05A-6CAAF9A53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skellig påvirkning af vandkvalite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90E5065-E690-4E49-BCE4-FC0ACD5FE4D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Content Placeholder 7" descr="A picture containing indoor&#10;&#10;Description automatically generated">
            <a:extLst>
              <a:ext uri="{FF2B5EF4-FFF2-40B4-BE49-F238E27FC236}">
                <a16:creationId xmlns:a16="http://schemas.microsoft.com/office/drawing/2014/main" id="{D2D1223E-CAE0-43AD-88E7-20AF5B4B585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4147335"/>
            <a:ext cx="2682887" cy="2012165"/>
          </a:xfrm>
        </p:spPr>
      </p:pic>
      <p:pic>
        <p:nvPicPr>
          <p:cNvPr id="10" name="Picture 2" descr="\\allkfs01\data\SAG\226\329\PROJECT\Billeder Brøndbyvester\Pelletkolonne1.jpg">
            <a:extLst>
              <a:ext uri="{FF2B5EF4-FFF2-40B4-BE49-F238E27FC236}">
                <a16:creationId xmlns:a16="http://schemas.microsoft.com/office/drawing/2014/main" id="{26D4E239-2BB6-4CB9-A377-CA8983727A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680" y="2730500"/>
            <a:ext cx="1928813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6F200D4A-43B1-4DED-86BB-B07575A899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256" y="1934563"/>
            <a:ext cx="3467142" cy="2041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59D26928-6F96-48EF-BD98-E323B981A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887" y="4144962"/>
            <a:ext cx="2019300" cy="201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Placeholder 7">
            <a:extLst>
              <a:ext uri="{FF2B5EF4-FFF2-40B4-BE49-F238E27FC236}">
                <a16:creationId xmlns:a16="http://schemas.microsoft.com/office/drawing/2014/main" id="{14A751B2-C6B3-4785-ACE1-139067A2EC3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5" t="13146" r="14841" b="13146"/>
          <a:stretch/>
        </p:blipFill>
        <p:spPr>
          <a:xfrm>
            <a:off x="8212915" y="4149196"/>
            <a:ext cx="3137483" cy="2014538"/>
          </a:xfrm>
          <a:prstGeom prst="rect">
            <a:avLst/>
          </a:prstGeom>
        </p:spPr>
      </p:pic>
      <p:pic>
        <p:nvPicPr>
          <p:cNvPr id="15" name="Picture 2" descr="3">
            <a:extLst>
              <a:ext uri="{FF2B5EF4-FFF2-40B4-BE49-F238E27FC236}">
                <a16:creationId xmlns:a16="http://schemas.microsoft.com/office/drawing/2014/main" id="{76308663-9B19-465A-8184-95F7D743F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9336" y="2422262"/>
            <a:ext cx="2357413" cy="1569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3D29ABC-C966-4F78-9120-9842CEC67415}"/>
              </a:ext>
            </a:extLst>
          </p:cNvPr>
          <p:cNvSpPr txBox="1"/>
          <p:nvPr/>
        </p:nvSpPr>
        <p:spPr>
          <a:xfrm>
            <a:off x="3048000" y="2405999"/>
            <a:ext cx="2022926" cy="156966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lletblødgø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onbyt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ARIX ionbyt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mbranfiltr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ektrolys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5CC63C6-BF0D-4E50-93EB-17BDA6676453}"/>
              </a:ext>
            </a:extLst>
          </p:cNvPr>
          <p:cNvSpPr/>
          <p:nvPr/>
        </p:nvSpPr>
        <p:spPr>
          <a:xfrm>
            <a:off x="912680" y="2730500"/>
            <a:ext cx="1928812" cy="3429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u="sng" dirty="0">
                <a:solidFill>
                  <a:schemeClr val="tx1"/>
                </a:solidFill>
              </a:rPr>
              <a:t>Pelletblødgøring</a:t>
            </a:r>
          </a:p>
          <a:p>
            <a:r>
              <a:rPr lang="da-DK" b="1" dirty="0">
                <a:solidFill>
                  <a:schemeClr val="tx1"/>
                </a:solidFill>
              </a:rPr>
              <a:t>↓</a:t>
            </a:r>
            <a:r>
              <a:rPr lang="da-DK" sz="1600" dirty="0">
                <a:solidFill>
                  <a:schemeClr val="tx1"/>
                </a:solidFill>
              </a:rPr>
              <a:t> Ca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HC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endParaRPr lang="da-DK" sz="1600" dirty="0">
              <a:solidFill>
                <a:schemeClr val="tx1"/>
              </a:solidFill>
            </a:endParaRPr>
          </a:p>
          <a:p>
            <a:r>
              <a:rPr lang="da-DK" b="1" dirty="0">
                <a:solidFill>
                  <a:schemeClr val="tx1"/>
                </a:solidFill>
              </a:rPr>
              <a:t>↑</a:t>
            </a:r>
            <a:r>
              <a:rPr lang="da-DK" sz="1600" dirty="0">
                <a:solidFill>
                  <a:schemeClr val="tx1"/>
                </a:solidFill>
              </a:rPr>
              <a:t> Na</a:t>
            </a:r>
            <a:r>
              <a:rPr lang="da-DK" sz="1600" baseline="30000" dirty="0">
                <a:solidFill>
                  <a:schemeClr val="tx1"/>
                </a:solidFill>
              </a:rPr>
              <a:t>+</a:t>
            </a:r>
            <a:r>
              <a:rPr lang="da-DK" sz="1600" dirty="0">
                <a:solidFill>
                  <a:schemeClr val="tx1"/>
                </a:solidFill>
              </a:rPr>
              <a:t>, pH</a:t>
            </a:r>
          </a:p>
          <a:p>
            <a:endParaRPr lang="da-DK" sz="1600" baseline="300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2E3E23-3D26-4F43-A17E-6E3547E2FF04}"/>
              </a:ext>
            </a:extLst>
          </p:cNvPr>
          <p:cNvSpPr/>
          <p:nvPr/>
        </p:nvSpPr>
        <p:spPr>
          <a:xfrm>
            <a:off x="3049008" y="4144962"/>
            <a:ext cx="2681879" cy="201453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u="sng" dirty="0">
                <a:solidFill>
                  <a:schemeClr val="tx1"/>
                </a:solidFill>
              </a:rPr>
              <a:t>Elektrolyse</a:t>
            </a:r>
          </a:p>
          <a:p>
            <a:r>
              <a:rPr lang="da-DK" b="1" dirty="0">
                <a:solidFill>
                  <a:schemeClr val="tx1"/>
                </a:solidFill>
              </a:rPr>
              <a:t>↓</a:t>
            </a:r>
            <a:r>
              <a:rPr lang="da-DK" sz="1600" dirty="0">
                <a:solidFill>
                  <a:schemeClr val="tx1"/>
                </a:solidFill>
              </a:rPr>
              <a:t> Ca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HC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</a:p>
          <a:p>
            <a:r>
              <a:rPr lang="da-DK" sz="1600" b="1" dirty="0">
                <a:solidFill>
                  <a:schemeClr val="tx1"/>
                </a:solidFill>
              </a:rPr>
              <a:t>↑</a:t>
            </a:r>
            <a:r>
              <a:rPr lang="da-DK" sz="1600" dirty="0">
                <a:solidFill>
                  <a:schemeClr val="tx1"/>
                </a:solidFill>
              </a:rPr>
              <a:t> pH</a:t>
            </a:r>
          </a:p>
          <a:p>
            <a:r>
              <a:rPr lang="da-DK" sz="1600" baseline="300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5F5D61-5E0F-4218-A2CA-CEC74F7BFB5F}"/>
              </a:ext>
            </a:extLst>
          </p:cNvPr>
          <p:cNvSpPr/>
          <p:nvPr/>
        </p:nvSpPr>
        <p:spPr>
          <a:xfrm>
            <a:off x="8212914" y="4144962"/>
            <a:ext cx="3137483" cy="204109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u="sng" dirty="0">
                <a:solidFill>
                  <a:schemeClr val="tx1"/>
                </a:solidFill>
              </a:rPr>
              <a:t>Ionbytning</a:t>
            </a:r>
          </a:p>
          <a:p>
            <a:r>
              <a:rPr lang="da-DK" sz="1600" b="1" dirty="0">
                <a:solidFill>
                  <a:schemeClr val="tx1"/>
                </a:solidFill>
              </a:rPr>
              <a:t>↓</a:t>
            </a:r>
            <a:r>
              <a:rPr lang="da-DK" sz="1600" dirty="0">
                <a:solidFill>
                  <a:schemeClr val="tx1"/>
                </a:solidFill>
              </a:rPr>
              <a:t> Ca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Mg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endParaRPr lang="da-DK" sz="1600" dirty="0">
              <a:solidFill>
                <a:schemeClr val="tx1"/>
              </a:solidFill>
            </a:endParaRPr>
          </a:p>
          <a:p>
            <a:r>
              <a:rPr lang="da-DK" sz="1600" b="1" dirty="0">
                <a:solidFill>
                  <a:schemeClr val="tx1"/>
                </a:solidFill>
              </a:rPr>
              <a:t>↑</a:t>
            </a:r>
            <a:r>
              <a:rPr lang="da-DK" sz="1600" dirty="0">
                <a:solidFill>
                  <a:schemeClr val="tx1"/>
                </a:solidFill>
              </a:rPr>
              <a:t> Na</a:t>
            </a:r>
            <a:r>
              <a:rPr lang="da-DK" sz="1600" baseline="30000" dirty="0">
                <a:solidFill>
                  <a:schemeClr val="tx1"/>
                </a:solidFill>
              </a:rPr>
              <a:t>+</a:t>
            </a:r>
            <a:endParaRPr lang="da-DK" sz="16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AAACCA-B6B0-457D-A72C-197245720C59}"/>
              </a:ext>
            </a:extLst>
          </p:cNvPr>
          <p:cNvSpPr/>
          <p:nvPr/>
        </p:nvSpPr>
        <p:spPr>
          <a:xfrm>
            <a:off x="5979886" y="4147335"/>
            <a:ext cx="2019301" cy="201216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u="sng" dirty="0">
                <a:solidFill>
                  <a:schemeClr val="tx1"/>
                </a:solidFill>
              </a:rPr>
              <a:t>CARIX</a:t>
            </a:r>
          </a:p>
          <a:p>
            <a:r>
              <a:rPr lang="da-DK" sz="1600" b="1" dirty="0">
                <a:solidFill>
                  <a:schemeClr val="tx1"/>
                </a:solidFill>
              </a:rPr>
              <a:t>↓</a:t>
            </a:r>
            <a:r>
              <a:rPr lang="da-DK" sz="1600" dirty="0">
                <a:solidFill>
                  <a:schemeClr val="tx1"/>
                </a:solidFill>
              </a:rPr>
              <a:t> Ca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Mg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HC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, </a:t>
            </a:r>
          </a:p>
          <a:p>
            <a:r>
              <a:rPr lang="da-DK" sz="1600" dirty="0">
                <a:solidFill>
                  <a:schemeClr val="tx1"/>
                </a:solidFill>
              </a:rPr>
              <a:t>(SO</a:t>
            </a:r>
            <a:r>
              <a:rPr lang="da-DK" sz="1600" baseline="-25000" dirty="0">
                <a:solidFill>
                  <a:schemeClr val="tx1"/>
                </a:solidFill>
              </a:rPr>
              <a:t>4</a:t>
            </a:r>
            <a:r>
              <a:rPr lang="da-DK" sz="1600" baseline="30000" dirty="0">
                <a:solidFill>
                  <a:schemeClr val="tx1"/>
                </a:solidFill>
              </a:rPr>
              <a:t>2-</a:t>
            </a:r>
            <a:r>
              <a:rPr lang="da-DK" sz="1600" dirty="0">
                <a:solidFill>
                  <a:schemeClr val="tx1"/>
                </a:solidFill>
              </a:rPr>
              <a:t>), (N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), (Cl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)</a:t>
            </a:r>
          </a:p>
          <a:p>
            <a:endParaRPr lang="da-DK" sz="1600" dirty="0">
              <a:solidFill>
                <a:schemeClr val="tx1"/>
              </a:solidFill>
            </a:endParaRPr>
          </a:p>
          <a:p>
            <a:endParaRPr lang="da-DK" sz="16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3C4058-E7CD-419D-920D-B84BEE6E1873}"/>
              </a:ext>
            </a:extLst>
          </p:cNvPr>
          <p:cNvSpPr/>
          <p:nvPr/>
        </p:nvSpPr>
        <p:spPr>
          <a:xfrm>
            <a:off x="7883256" y="1930329"/>
            <a:ext cx="3467141" cy="2045329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u="sng" dirty="0">
                <a:solidFill>
                  <a:schemeClr val="tx1"/>
                </a:solidFill>
              </a:rPr>
              <a:t>Membraner</a:t>
            </a:r>
          </a:p>
          <a:p>
            <a:r>
              <a:rPr lang="da-DK" sz="1600" b="1" dirty="0">
                <a:solidFill>
                  <a:schemeClr val="tx1"/>
                </a:solidFill>
              </a:rPr>
              <a:t>↓</a:t>
            </a:r>
            <a:r>
              <a:rPr lang="da-DK" sz="1600" dirty="0">
                <a:solidFill>
                  <a:schemeClr val="tx1"/>
                </a:solidFill>
              </a:rPr>
              <a:t> Ca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Mg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HC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, SO</a:t>
            </a:r>
            <a:r>
              <a:rPr lang="da-DK" sz="1600" baseline="-25000" dirty="0">
                <a:solidFill>
                  <a:schemeClr val="tx1"/>
                </a:solidFill>
              </a:rPr>
              <a:t>4</a:t>
            </a:r>
            <a:r>
              <a:rPr lang="da-DK" sz="1600" baseline="30000" dirty="0">
                <a:solidFill>
                  <a:schemeClr val="tx1"/>
                </a:solidFill>
              </a:rPr>
              <a:t>2-</a:t>
            </a:r>
            <a:r>
              <a:rPr lang="da-DK" sz="1600" dirty="0">
                <a:solidFill>
                  <a:schemeClr val="tx1"/>
                </a:solidFill>
              </a:rPr>
              <a:t>, N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, Cl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, F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  <a:r>
              <a:rPr lang="da-DK" sz="1600" dirty="0">
                <a:solidFill>
                  <a:schemeClr val="tx1"/>
                </a:solidFill>
              </a:rPr>
              <a:t>,</a:t>
            </a:r>
            <a:r>
              <a:rPr lang="da-DK" sz="1600" baseline="30000" dirty="0">
                <a:solidFill>
                  <a:schemeClr val="tx1"/>
                </a:solidFill>
              </a:rPr>
              <a:t> </a:t>
            </a:r>
            <a:r>
              <a:rPr lang="da-DK" sz="1600" dirty="0">
                <a:solidFill>
                  <a:schemeClr val="tx1"/>
                </a:solidFill>
              </a:rPr>
              <a:t>pH, m.fl.</a:t>
            </a:r>
          </a:p>
          <a:p>
            <a:endParaRPr lang="da-DK" sz="16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C3C5C6-7449-495E-95A0-CA0243D6E0D4}"/>
              </a:ext>
            </a:extLst>
          </p:cNvPr>
          <p:cNvSpPr/>
          <p:nvPr/>
        </p:nvSpPr>
        <p:spPr>
          <a:xfrm>
            <a:off x="5323520" y="2422262"/>
            <a:ext cx="2353230" cy="156942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u="sng" dirty="0">
                <a:solidFill>
                  <a:schemeClr val="tx1"/>
                </a:solidFill>
              </a:rPr>
              <a:t>PAS</a:t>
            </a:r>
          </a:p>
          <a:p>
            <a:r>
              <a:rPr lang="da-DK" b="1" dirty="0">
                <a:solidFill>
                  <a:schemeClr val="tx1"/>
                </a:solidFill>
              </a:rPr>
              <a:t>↓</a:t>
            </a:r>
            <a:r>
              <a:rPr lang="da-DK" sz="1600" dirty="0">
                <a:solidFill>
                  <a:schemeClr val="tx1"/>
                </a:solidFill>
              </a:rPr>
              <a:t> Ca</a:t>
            </a:r>
            <a:r>
              <a:rPr lang="da-DK" sz="1600" baseline="30000" dirty="0">
                <a:solidFill>
                  <a:schemeClr val="tx1"/>
                </a:solidFill>
              </a:rPr>
              <a:t>2+</a:t>
            </a:r>
            <a:r>
              <a:rPr lang="da-DK" sz="1600" dirty="0">
                <a:solidFill>
                  <a:schemeClr val="tx1"/>
                </a:solidFill>
              </a:rPr>
              <a:t>, HCO</a:t>
            </a:r>
            <a:r>
              <a:rPr lang="da-DK" sz="1600" baseline="-25000" dirty="0">
                <a:solidFill>
                  <a:schemeClr val="tx1"/>
                </a:solidFill>
              </a:rPr>
              <a:t>3</a:t>
            </a:r>
            <a:r>
              <a:rPr lang="da-DK" sz="1600" baseline="30000" dirty="0">
                <a:solidFill>
                  <a:schemeClr val="tx1"/>
                </a:solidFill>
              </a:rPr>
              <a:t>-</a:t>
            </a:r>
          </a:p>
          <a:p>
            <a:r>
              <a:rPr lang="da-DK" sz="1600" b="1" dirty="0">
                <a:solidFill>
                  <a:schemeClr val="tx1"/>
                </a:solidFill>
              </a:rPr>
              <a:t>↑</a:t>
            </a:r>
            <a:r>
              <a:rPr lang="da-DK" sz="1600" dirty="0">
                <a:solidFill>
                  <a:schemeClr val="tx1"/>
                </a:solidFill>
              </a:rPr>
              <a:t> pH</a:t>
            </a:r>
          </a:p>
          <a:p>
            <a:r>
              <a:rPr lang="da-DK" sz="1600" baseline="300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3546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16" grpId="0" animBg="1"/>
      <p:bldP spid="18" grpId="0" animBg="1"/>
      <p:bldP spid="19" grpId="0" animBg="1"/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2685228E-2787-4D49-9FE5-C1928E8F2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19" name="Content Placeholder 18" descr="Water with solid fill">
            <a:extLst>
              <a:ext uri="{FF2B5EF4-FFF2-40B4-BE49-F238E27FC236}">
                <a16:creationId xmlns:a16="http://schemas.microsoft.com/office/drawing/2014/main" id="{0CEB7E37-6ECC-4AD1-A6A5-1952B7530CFA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7145" y="2347866"/>
            <a:ext cx="2568924" cy="2568924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1277F1-1CBE-4634-999F-1D871F47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4455395-3BCD-46FE-B1B7-9637B7A020C1}"/>
              </a:ext>
            </a:extLst>
          </p:cNvPr>
          <p:cNvCxnSpPr/>
          <p:nvPr/>
        </p:nvCxnSpPr>
        <p:spPr bwMode="auto">
          <a:xfrm flipH="1" flipV="1">
            <a:off x="6928633" y="4437112"/>
            <a:ext cx="1073175" cy="720080"/>
          </a:xfrm>
          <a:prstGeom prst="line">
            <a:avLst/>
          </a:prstGeom>
          <a:solidFill>
            <a:srgbClr val="990000"/>
          </a:solidFill>
          <a:ln w="28575" cap="flat" cmpd="sng" algn="ctr">
            <a:solidFill>
              <a:srgbClr val="EED5C4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B02ABC4-D92A-4D52-AF44-AC8E6FA604C2}"/>
              </a:ext>
            </a:extLst>
          </p:cNvPr>
          <p:cNvCxnSpPr/>
          <p:nvPr/>
        </p:nvCxnSpPr>
        <p:spPr bwMode="auto">
          <a:xfrm>
            <a:off x="3496795" y="2745269"/>
            <a:ext cx="1988110" cy="469147"/>
          </a:xfrm>
          <a:prstGeom prst="line">
            <a:avLst/>
          </a:prstGeom>
          <a:solidFill>
            <a:srgbClr val="990000"/>
          </a:solidFill>
          <a:ln w="28575" cap="flat" cmpd="sng" algn="ctr">
            <a:solidFill>
              <a:srgbClr val="EED5C4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36AD46F-8501-4DEE-ABC0-BC8C06DDD7B8}"/>
              </a:ext>
            </a:extLst>
          </p:cNvPr>
          <p:cNvSpPr/>
          <p:nvPr/>
        </p:nvSpPr>
        <p:spPr bwMode="auto">
          <a:xfrm>
            <a:off x="1558702" y="2169529"/>
            <a:ext cx="2232248" cy="1224136"/>
          </a:xfrm>
          <a:prstGeom prst="roundRect">
            <a:avLst/>
          </a:prstGeom>
          <a:solidFill>
            <a:srgbClr val="E2E9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Drikkevands-bekendtgørelsen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B9EAF5-E25D-4D2F-A8FE-7E14D6C4C0EA}"/>
              </a:ext>
            </a:extLst>
          </p:cNvPr>
          <p:cNvCxnSpPr/>
          <p:nvPr/>
        </p:nvCxnSpPr>
        <p:spPr bwMode="auto">
          <a:xfrm>
            <a:off x="6131607" y="1196752"/>
            <a:ext cx="0" cy="1303734"/>
          </a:xfrm>
          <a:prstGeom prst="line">
            <a:avLst/>
          </a:prstGeom>
          <a:solidFill>
            <a:srgbClr val="990000"/>
          </a:solidFill>
          <a:ln w="28575" cap="flat" cmpd="sng" algn="ctr">
            <a:solidFill>
              <a:srgbClr val="EED5C4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2BDA513-5040-4B72-9C2B-1F3F0BEA2621}"/>
              </a:ext>
            </a:extLst>
          </p:cNvPr>
          <p:cNvSpPr/>
          <p:nvPr/>
        </p:nvSpPr>
        <p:spPr bwMode="auto">
          <a:xfrm>
            <a:off x="4990753" y="468745"/>
            <a:ext cx="2232248" cy="1224136"/>
          </a:xfrm>
          <a:prstGeom prst="roundRect">
            <a:avLst/>
          </a:prstGeom>
          <a:solidFill>
            <a:srgbClr val="E2E9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Kalkudfældninger og sæbeforbru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1877F63-7BA4-4026-8E84-C24EDE616D83}"/>
              </a:ext>
            </a:extLst>
          </p:cNvPr>
          <p:cNvSpPr/>
          <p:nvPr/>
        </p:nvSpPr>
        <p:spPr bwMode="auto">
          <a:xfrm>
            <a:off x="7029076" y="5027439"/>
            <a:ext cx="2232248" cy="1224136"/>
          </a:xfrm>
          <a:prstGeom prst="roundRect">
            <a:avLst/>
          </a:prstGeom>
          <a:solidFill>
            <a:srgbClr val="E2E9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Sundhe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C8E6F53-C772-4813-8059-00896E3CB000}"/>
              </a:ext>
            </a:extLst>
          </p:cNvPr>
          <p:cNvSpPr/>
          <p:nvPr/>
        </p:nvSpPr>
        <p:spPr bwMode="auto">
          <a:xfrm>
            <a:off x="3031121" y="5027439"/>
            <a:ext cx="2232248" cy="1224136"/>
          </a:xfrm>
          <a:prstGeom prst="roundRect">
            <a:avLst/>
          </a:prstGeom>
          <a:solidFill>
            <a:srgbClr val="E2E9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Sma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D992871-C64B-4ED7-AFF6-6F04F6154914}"/>
              </a:ext>
            </a:extLst>
          </p:cNvPr>
          <p:cNvSpPr/>
          <p:nvPr/>
        </p:nvSpPr>
        <p:spPr bwMode="auto">
          <a:xfrm>
            <a:off x="8650499" y="2153131"/>
            <a:ext cx="2232248" cy="1224136"/>
          </a:xfrm>
          <a:prstGeom prst="roundRect">
            <a:avLst/>
          </a:prstGeom>
          <a:solidFill>
            <a:srgbClr val="E2E9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r>
              <a:rPr lang="da-DK" sz="1600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Korrosion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05759580-AF05-43A1-8840-0E4471DC6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60671D-8618-40BB-AEF3-747CEF6AD8B6}"/>
              </a:ext>
            </a:extLst>
          </p:cNvPr>
          <p:cNvCxnSpPr/>
          <p:nvPr/>
        </p:nvCxnSpPr>
        <p:spPr bwMode="auto">
          <a:xfrm flipH="1">
            <a:off x="6841877" y="2781597"/>
            <a:ext cx="1808622" cy="495003"/>
          </a:xfrm>
          <a:prstGeom prst="line">
            <a:avLst/>
          </a:prstGeom>
          <a:solidFill>
            <a:srgbClr val="990000"/>
          </a:solidFill>
          <a:ln w="28575" cap="flat" cmpd="sng" algn="ctr">
            <a:solidFill>
              <a:srgbClr val="EED5C4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F0307E-AE35-4073-BC29-7772AF0044DF}"/>
              </a:ext>
            </a:extLst>
          </p:cNvPr>
          <p:cNvCxnSpPr/>
          <p:nvPr/>
        </p:nvCxnSpPr>
        <p:spPr bwMode="auto">
          <a:xfrm flipV="1">
            <a:off x="4147245" y="4327451"/>
            <a:ext cx="1073175" cy="720080"/>
          </a:xfrm>
          <a:prstGeom prst="line">
            <a:avLst/>
          </a:prstGeom>
          <a:solidFill>
            <a:srgbClr val="990000"/>
          </a:solidFill>
          <a:ln w="28575" cap="flat" cmpd="sng" algn="ctr">
            <a:solidFill>
              <a:srgbClr val="EED5C4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39319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DCCF3-1A09-4B66-B340-9BBFD87EB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Råvandsmængde</a:t>
            </a:r>
            <a:r>
              <a:rPr lang="da-DK" dirty="0"/>
              <a:t> og -kvalite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8C9E328-D6AD-4345-91D8-59FC68E6C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62588" y="1018848"/>
            <a:ext cx="11394450" cy="369332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AF2D28-8857-4960-8AFD-B656F3867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C9980B-00FA-4B27-AE3C-45C5B4180E63}"/>
              </a:ext>
            </a:extLst>
          </p:cNvPr>
          <p:cNvSpPr/>
          <p:nvPr/>
        </p:nvSpPr>
        <p:spPr>
          <a:xfrm>
            <a:off x="3938997" y="1915243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lletblødgør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B66B59-525B-4B47-AD37-3FAAAAB2F0D6}"/>
              </a:ext>
            </a:extLst>
          </p:cNvPr>
          <p:cNvSpPr/>
          <p:nvPr/>
        </p:nvSpPr>
        <p:spPr>
          <a:xfrm>
            <a:off x="3938997" y="2554555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nbytn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5ECB0AF-7F8B-4C21-8759-30DC08D7D20F}"/>
              </a:ext>
            </a:extLst>
          </p:cNvPr>
          <p:cNvSpPr/>
          <p:nvPr/>
        </p:nvSpPr>
        <p:spPr>
          <a:xfrm>
            <a:off x="3938996" y="3193867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RI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C2DABE-11C7-4CC8-97CB-FE67022A2830}"/>
              </a:ext>
            </a:extLst>
          </p:cNvPr>
          <p:cNvSpPr/>
          <p:nvPr/>
        </p:nvSpPr>
        <p:spPr>
          <a:xfrm>
            <a:off x="3938995" y="3833179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bra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7CBCCE-FDF1-4AD2-B775-E489E018E025}"/>
              </a:ext>
            </a:extLst>
          </p:cNvPr>
          <p:cNvSpPr/>
          <p:nvPr/>
        </p:nvSpPr>
        <p:spPr>
          <a:xfrm>
            <a:off x="3938995" y="4472491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A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093003-564F-42A7-B56A-504383BA9BB3}"/>
              </a:ext>
            </a:extLst>
          </p:cNvPr>
          <p:cNvSpPr/>
          <p:nvPr/>
        </p:nvSpPr>
        <p:spPr>
          <a:xfrm>
            <a:off x="3938995" y="5111803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lektroly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8D9D32-216A-49B6-9602-3382751F233A}"/>
              </a:ext>
            </a:extLst>
          </p:cNvPr>
          <p:cNvSpPr/>
          <p:nvPr/>
        </p:nvSpPr>
        <p:spPr>
          <a:xfrm>
            <a:off x="438150" y="3042485"/>
            <a:ext cx="2621280" cy="14300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uværende grundvandsressource er meget begrænset</a:t>
            </a:r>
          </a:p>
        </p:txBody>
      </p:sp>
      <p:sp>
        <p:nvSpPr>
          <p:cNvPr id="14" name="Multiplication Sign 13">
            <a:extLst>
              <a:ext uri="{FF2B5EF4-FFF2-40B4-BE49-F238E27FC236}">
                <a16:creationId xmlns:a16="http://schemas.microsoft.com/office/drawing/2014/main" id="{6D870E88-B78B-4492-B2D4-244BE85D0ADC}"/>
              </a:ext>
            </a:extLst>
          </p:cNvPr>
          <p:cNvSpPr/>
          <p:nvPr/>
        </p:nvSpPr>
        <p:spPr>
          <a:xfrm>
            <a:off x="4522469" y="3693199"/>
            <a:ext cx="731520" cy="802474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5210B531-C4C6-4D08-A020-DCCE4E7C0B92}"/>
              </a:ext>
            </a:extLst>
          </p:cNvPr>
          <p:cNvSpPr/>
          <p:nvPr/>
        </p:nvSpPr>
        <p:spPr>
          <a:xfrm>
            <a:off x="3111681" y="3496231"/>
            <a:ext cx="775063" cy="5225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353713-D5E8-4938-ACBA-BA82B33E01DD}"/>
              </a:ext>
            </a:extLst>
          </p:cNvPr>
          <p:cNvSpPr/>
          <p:nvPr/>
        </p:nvSpPr>
        <p:spPr>
          <a:xfrm>
            <a:off x="6354536" y="1915243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lletblødgør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49F23D-77A7-42FD-ACAF-A84316F196D5}"/>
              </a:ext>
            </a:extLst>
          </p:cNvPr>
          <p:cNvSpPr/>
          <p:nvPr/>
        </p:nvSpPr>
        <p:spPr>
          <a:xfrm>
            <a:off x="6354536" y="2554555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nbytn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4B1292-EDC4-45D8-A610-9E9159A4BAAE}"/>
              </a:ext>
            </a:extLst>
          </p:cNvPr>
          <p:cNvSpPr/>
          <p:nvPr/>
        </p:nvSpPr>
        <p:spPr>
          <a:xfrm>
            <a:off x="6354535" y="3193867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RIX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A5B9EA-6B44-4463-AB42-98811E5581C5}"/>
              </a:ext>
            </a:extLst>
          </p:cNvPr>
          <p:cNvSpPr/>
          <p:nvPr/>
        </p:nvSpPr>
        <p:spPr>
          <a:xfrm>
            <a:off x="6354534" y="3833179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bra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0BA0AA-AE52-413B-B9D1-F965FA2D7CCD}"/>
              </a:ext>
            </a:extLst>
          </p:cNvPr>
          <p:cNvSpPr/>
          <p:nvPr/>
        </p:nvSpPr>
        <p:spPr>
          <a:xfrm>
            <a:off x="6354534" y="4472491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A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000A42E-AD16-48FB-9B01-CFE631426A60}"/>
              </a:ext>
            </a:extLst>
          </p:cNvPr>
          <p:cNvSpPr/>
          <p:nvPr/>
        </p:nvSpPr>
        <p:spPr>
          <a:xfrm>
            <a:off x="6354534" y="5111803"/>
            <a:ext cx="1898469" cy="52251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lektrolys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8D29C3-AA6A-4079-8125-2DFE59CDE241}"/>
              </a:ext>
            </a:extLst>
          </p:cNvPr>
          <p:cNvSpPr/>
          <p:nvPr/>
        </p:nvSpPr>
        <p:spPr>
          <a:xfrm>
            <a:off x="9132570" y="3042485"/>
            <a:ext cx="2621280" cy="14300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r er høj natriumkoncentration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0EA2E168-3F74-4D5F-A4A9-B1563A5A2407}"/>
              </a:ext>
            </a:extLst>
          </p:cNvPr>
          <p:cNvSpPr/>
          <p:nvPr/>
        </p:nvSpPr>
        <p:spPr>
          <a:xfrm flipH="1">
            <a:off x="8305254" y="3543652"/>
            <a:ext cx="775063" cy="5225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Multiplication Sign 27">
            <a:extLst>
              <a:ext uri="{FF2B5EF4-FFF2-40B4-BE49-F238E27FC236}">
                <a16:creationId xmlns:a16="http://schemas.microsoft.com/office/drawing/2014/main" id="{272C0F34-128D-4FB5-8286-9148CA8D06EC}"/>
              </a:ext>
            </a:extLst>
          </p:cNvPr>
          <p:cNvSpPr/>
          <p:nvPr/>
        </p:nvSpPr>
        <p:spPr>
          <a:xfrm>
            <a:off x="6938008" y="2414575"/>
            <a:ext cx="731520" cy="802474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Multiplication Sign 28">
            <a:extLst>
              <a:ext uri="{FF2B5EF4-FFF2-40B4-BE49-F238E27FC236}">
                <a16:creationId xmlns:a16="http://schemas.microsoft.com/office/drawing/2014/main" id="{5D549CB5-3449-4682-A0A9-7BFC2B4D2E92}"/>
              </a:ext>
            </a:extLst>
          </p:cNvPr>
          <p:cNvSpPr/>
          <p:nvPr/>
        </p:nvSpPr>
        <p:spPr>
          <a:xfrm>
            <a:off x="6938008" y="1752081"/>
            <a:ext cx="731520" cy="802474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0716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7" grpId="0" animBg="1"/>
      <p:bldP spid="28" grpId="0" animBg="1"/>
      <p:bldP spid="2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A68D-D41C-4930-8D93-1B6D0158D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alkudfældningspotentiale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D8BAEB-B0C7-4E3E-8D25-D1B17D4CD92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a-DK" dirty="0"/>
              <a:t>Calcium </a:t>
            </a:r>
            <a:r>
              <a:rPr lang="da-DK" dirty="0" err="1"/>
              <a:t>Carbonate</a:t>
            </a:r>
            <a:r>
              <a:rPr lang="da-DK" dirty="0"/>
              <a:t> </a:t>
            </a:r>
            <a:r>
              <a:rPr lang="da-DK" dirty="0" err="1"/>
              <a:t>Precipitation</a:t>
            </a:r>
            <a:r>
              <a:rPr lang="da-DK" dirty="0"/>
              <a:t> Potential (CCPP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15F55F-97FE-4D8C-9113-C2DA2F4AC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BB36B67-9AD9-4F85-AD64-4A9BBE3591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36810" y="3504927"/>
            <a:ext cx="3917918" cy="2938436"/>
          </a:xfrm>
          <a:prstGeom prst="rect">
            <a:avLst/>
          </a:prstGeom>
        </p:spPr>
      </p:pic>
      <p:pic>
        <p:nvPicPr>
          <p:cNvPr id="7" name="Picture 6" descr="A picture containing indoor, close&#10;&#10;Description automatically generated">
            <a:extLst>
              <a:ext uri="{FF2B5EF4-FFF2-40B4-BE49-F238E27FC236}">
                <a16:creationId xmlns:a16="http://schemas.microsoft.com/office/drawing/2014/main" id="{124F1FDB-FD26-4C83-AAFD-405F3C15A5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48371" y="321669"/>
            <a:ext cx="3945200" cy="298884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26D78B-7E1C-41CD-8075-2D32A5D35C4F}"/>
              </a:ext>
            </a:extLst>
          </p:cNvPr>
          <p:cNvSpPr/>
          <p:nvPr/>
        </p:nvSpPr>
        <p:spPr bwMode="auto">
          <a:xfrm>
            <a:off x="2046065" y="2626982"/>
            <a:ext cx="2376263" cy="1368152"/>
          </a:xfrm>
          <a:prstGeom prst="roundRect">
            <a:avLst/>
          </a:prstGeom>
          <a:noFill/>
          <a:ln w="38100" cap="flat" cmpd="sng" algn="ctr">
            <a:solidFill>
              <a:srgbClr val="EED5C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endParaRPr lang="da-DK" sz="1600" err="1">
              <a:solidFill>
                <a:srgbClr val="000000"/>
              </a:solidFill>
              <a:ea typeface="ＭＳ Ｐゴシック" pitchFamily="-80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C3E6CC-1782-4ECB-92D2-152F3E703A1B}"/>
              </a:ext>
            </a:extLst>
          </p:cNvPr>
          <p:cNvSpPr txBox="1"/>
          <p:nvPr/>
        </p:nvSpPr>
        <p:spPr>
          <a:xfrm>
            <a:off x="2262088" y="2745712"/>
            <a:ext cx="94006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årdh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A482E8-3E3C-40FA-BEB2-4952F8AF1C33}"/>
              </a:ext>
            </a:extLst>
          </p:cNvPr>
          <p:cNvSpPr txBox="1"/>
          <p:nvPr/>
        </p:nvSpPr>
        <p:spPr>
          <a:xfrm>
            <a:off x="3486224" y="3151943"/>
            <a:ext cx="44884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+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4E3E82-C41C-4430-953C-AAA187B994D6}"/>
              </a:ext>
            </a:extLst>
          </p:cNvPr>
          <p:cNvSpPr txBox="1"/>
          <p:nvPr/>
        </p:nvSpPr>
        <p:spPr>
          <a:xfrm>
            <a:off x="2622128" y="3433606"/>
            <a:ext cx="5321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g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+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F345258-9928-4F5D-B9BE-B7CAD6FDCD8E}"/>
              </a:ext>
            </a:extLst>
          </p:cNvPr>
          <p:cNvSpPr/>
          <p:nvPr/>
        </p:nvSpPr>
        <p:spPr bwMode="auto">
          <a:xfrm>
            <a:off x="1772912" y="1677644"/>
            <a:ext cx="6194266" cy="3441039"/>
          </a:xfrm>
          <a:prstGeom prst="roundRect">
            <a:avLst/>
          </a:prstGeom>
          <a:noFill/>
          <a:ln w="38100" cap="flat" cmpd="sng" algn="ctr">
            <a:solidFill>
              <a:srgbClr val="E2E9E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endParaRPr lang="da-DK" sz="1600" err="1">
              <a:solidFill>
                <a:srgbClr val="000000"/>
              </a:solidFill>
              <a:ea typeface="ＭＳ Ｐゴシック" pitchFamily="-80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A8ADD9-4F7A-4C49-872D-9C3348E5641F}"/>
              </a:ext>
            </a:extLst>
          </p:cNvPr>
          <p:cNvSpPr txBox="1"/>
          <p:nvPr/>
        </p:nvSpPr>
        <p:spPr>
          <a:xfrm>
            <a:off x="2262088" y="1867896"/>
            <a:ext cx="56380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CP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8A2F11-8AAE-44ED-BC4D-F027748E37AA}"/>
              </a:ext>
            </a:extLst>
          </p:cNvPr>
          <p:cNvSpPr txBox="1"/>
          <p:nvPr/>
        </p:nvSpPr>
        <p:spPr>
          <a:xfrm>
            <a:off x="6794368" y="4411660"/>
            <a:ext cx="64120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SO</a:t>
            </a:r>
            <a:r>
              <a:rPr kumimoji="0" lang="da-DK" sz="18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</a:p>
        </p:txBody>
      </p:sp>
      <p:sp>
        <p:nvSpPr>
          <p:cNvPr id="44" name="Speech Bubble: Oval 43">
            <a:extLst>
              <a:ext uri="{FF2B5EF4-FFF2-40B4-BE49-F238E27FC236}">
                <a16:creationId xmlns:a16="http://schemas.microsoft.com/office/drawing/2014/main" id="{29083920-E6A9-4E7D-8892-623C8AABE8F5}"/>
              </a:ext>
            </a:extLst>
          </p:cNvPr>
          <p:cNvSpPr/>
          <p:nvPr/>
        </p:nvSpPr>
        <p:spPr>
          <a:xfrm>
            <a:off x="230529" y="4864793"/>
            <a:ext cx="5034979" cy="1077136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4FB891-0324-4D1A-9F5A-CA76D7524833}"/>
              </a:ext>
            </a:extLst>
          </p:cNvPr>
          <p:cNvSpPr txBox="1"/>
          <p:nvPr/>
        </p:nvSpPr>
        <p:spPr>
          <a:xfrm>
            <a:off x="6434229" y="3490233"/>
            <a:ext cx="78707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gOH</a:t>
            </a:r>
            <a:r>
              <a:rPr kumimoji="0" lang="da-DK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+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BC8F09-7D98-4693-B5D8-3928C3C35E59}"/>
              </a:ext>
            </a:extLst>
          </p:cNvPr>
          <p:cNvSpPr txBox="1"/>
          <p:nvPr/>
        </p:nvSpPr>
        <p:spPr>
          <a:xfrm>
            <a:off x="3541244" y="4379351"/>
            <a:ext cx="39594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a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E6C023-F0B8-465E-8A55-C11CAD7FC06A}"/>
              </a:ext>
            </a:extLst>
          </p:cNvPr>
          <p:cNvSpPr txBox="1"/>
          <p:nvPr/>
        </p:nvSpPr>
        <p:spPr>
          <a:xfrm>
            <a:off x="5112439" y="2812202"/>
            <a:ext cx="6574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CO</a:t>
            </a:r>
            <a:r>
              <a:rPr kumimoji="0" lang="da-DK" sz="18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5556AB-CD04-4D75-9CEC-EE876FA4AC22}"/>
              </a:ext>
            </a:extLst>
          </p:cNvPr>
          <p:cNvSpPr txBox="1"/>
          <p:nvPr/>
        </p:nvSpPr>
        <p:spPr>
          <a:xfrm>
            <a:off x="5041901" y="1991006"/>
            <a:ext cx="26930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</a:t>
            </a:r>
            <a:r>
              <a:rPr kumimoji="0" lang="da-DK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+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6EC84D9-936C-4430-A3A1-1BFA30B0389F}"/>
              </a:ext>
            </a:extLst>
          </p:cNvPr>
          <p:cNvSpPr txBox="1"/>
          <p:nvPr/>
        </p:nvSpPr>
        <p:spPr>
          <a:xfrm>
            <a:off x="2638502" y="4568155"/>
            <a:ext cx="4408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593C92-73E0-4905-8151-4E2172B417C7}"/>
              </a:ext>
            </a:extLst>
          </p:cNvPr>
          <p:cNvSpPr txBox="1"/>
          <p:nvPr/>
        </p:nvSpPr>
        <p:spPr>
          <a:xfrm>
            <a:off x="6994891" y="2089029"/>
            <a:ext cx="5321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</a:t>
            </a:r>
            <a:r>
              <a:rPr kumimoji="0" lang="da-DK" sz="18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-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8F31D5-4BBA-44FE-9882-4060DAFD4438}"/>
              </a:ext>
            </a:extLst>
          </p:cNvPr>
          <p:cNvSpPr txBox="1"/>
          <p:nvPr/>
        </p:nvSpPr>
        <p:spPr>
          <a:xfrm>
            <a:off x="4991411" y="4440906"/>
            <a:ext cx="74078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gCO</a:t>
            </a:r>
            <a:r>
              <a:rPr kumimoji="0" lang="da-DK" sz="18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33911E5-A389-4475-942C-D7CE63EBBAC8}"/>
              </a:ext>
            </a:extLst>
          </p:cNvPr>
          <p:cNvSpPr txBox="1"/>
          <p:nvPr/>
        </p:nvSpPr>
        <p:spPr>
          <a:xfrm>
            <a:off x="3461121" y="2190009"/>
            <a:ext cx="62215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CO</a:t>
            </a:r>
            <a:r>
              <a:rPr kumimoji="0" lang="da-DK" sz="1800" b="0" i="0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  <a:r>
              <a:rPr kumimoji="0" lang="da-DK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95C04-BB36-4D88-A1A7-8D611099DDFE}"/>
              </a:ext>
            </a:extLst>
          </p:cNvPr>
          <p:cNvSpPr txBox="1"/>
          <p:nvPr/>
        </p:nvSpPr>
        <p:spPr>
          <a:xfrm>
            <a:off x="7085001" y="2796875"/>
            <a:ext cx="24045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+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D6CFCA3-2296-4D73-846B-1BCA8CB19FEE}"/>
              </a:ext>
            </a:extLst>
          </p:cNvPr>
          <p:cNvSpPr txBox="1"/>
          <p:nvPr/>
        </p:nvSpPr>
        <p:spPr>
          <a:xfrm>
            <a:off x="5060183" y="3539411"/>
            <a:ext cx="6957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PO</a:t>
            </a:r>
            <a:r>
              <a:rPr kumimoji="0" lang="da-DK" sz="18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  <a:r>
              <a:rPr kumimoji="0" lang="da-DK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-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D22448B-E43C-4F9F-BC94-FF5B15673D2C}"/>
              </a:ext>
            </a:extLst>
          </p:cNvPr>
          <p:cNvSpPr txBox="1"/>
          <p:nvPr/>
        </p:nvSpPr>
        <p:spPr>
          <a:xfrm>
            <a:off x="365354" y="5192167"/>
            <a:ext cx="4854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Giver blødgøring gevinst for forbrugerne?</a:t>
            </a:r>
          </a:p>
        </p:txBody>
      </p:sp>
      <p:sp>
        <p:nvSpPr>
          <p:cNvPr id="45" name="Speech Bubble: Oval 44">
            <a:extLst>
              <a:ext uri="{FF2B5EF4-FFF2-40B4-BE49-F238E27FC236}">
                <a16:creationId xmlns:a16="http://schemas.microsoft.com/office/drawing/2014/main" id="{4B7F438B-EC7C-4149-9259-4DE035D3E10A}"/>
              </a:ext>
            </a:extLst>
          </p:cNvPr>
          <p:cNvSpPr/>
          <p:nvPr/>
        </p:nvSpPr>
        <p:spPr>
          <a:xfrm flipH="1">
            <a:off x="5962165" y="4864793"/>
            <a:ext cx="4010026" cy="1077136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0929AC7-8609-444A-93A8-8FF8B3BA1F57}"/>
              </a:ext>
            </a:extLst>
          </p:cNvPr>
          <p:cNvSpPr txBox="1"/>
          <p:nvPr/>
        </p:nvSpPr>
        <p:spPr>
          <a:xfrm>
            <a:off x="6149617" y="5206217"/>
            <a:ext cx="4162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Hvad er den optimale hårdhed?</a:t>
            </a:r>
          </a:p>
        </p:txBody>
      </p:sp>
      <p:sp>
        <p:nvSpPr>
          <p:cNvPr id="28" name="Speech Bubble: Oval 27">
            <a:extLst>
              <a:ext uri="{FF2B5EF4-FFF2-40B4-BE49-F238E27FC236}">
                <a16:creationId xmlns:a16="http://schemas.microsoft.com/office/drawing/2014/main" id="{78DDC65E-7F75-4D71-B1D1-40C0AB919202}"/>
              </a:ext>
            </a:extLst>
          </p:cNvPr>
          <p:cNvSpPr/>
          <p:nvPr/>
        </p:nvSpPr>
        <p:spPr>
          <a:xfrm flipH="1">
            <a:off x="3425543" y="5580201"/>
            <a:ext cx="4010026" cy="1077136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solidFill>
                  <a:schemeClr val="tx1"/>
                </a:solidFill>
              </a:rPr>
              <a:t>Hvilken teknologi giver størst gevinst?</a:t>
            </a:r>
          </a:p>
        </p:txBody>
      </p:sp>
    </p:spTree>
    <p:extLst>
      <p:ext uri="{BB962C8B-B14F-4D97-AF65-F5344CB8AC3E}">
        <p14:creationId xmlns:p14="http://schemas.microsoft.com/office/powerpoint/2010/main" val="716210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/>
      <p:bldP spid="44" grpId="0" animBg="1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45" grpId="0" animBg="1"/>
      <p:bldP spid="43" grpId="0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06C189BC-D286-4504-AE3D-8254301B49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690126-E2AE-4428-BF51-05D035C52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D602A4D-AF19-41DA-A258-DC85CC5A6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alkudfældning afhænger af temperatur</a:t>
            </a:r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9AAEE7B0-242F-496F-9588-9EA409FD791A}"/>
              </a:ext>
            </a:extLst>
          </p:cNvPr>
          <p:cNvSpPr/>
          <p:nvPr/>
        </p:nvSpPr>
        <p:spPr>
          <a:xfrm flipV="1">
            <a:off x="911334" y="2310299"/>
            <a:ext cx="1528946" cy="3086738"/>
          </a:xfrm>
          <a:prstGeom prst="down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45199710-0869-40E9-B5C2-1C3ADD10CAE4}"/>
              </a:ext>
            </a:extLst>
          </p:cNvPr>
          <p:cNvSpPr/>
          <p:nvPr/>
        </p:nvSpPr>
        <p:spPr>
          <a:xfrm flipV="1">
            <a:off x="3555344" y="2330297"/>
            <a:ext cx="1528946" cy="3086738"/>
          </a:xfrm>
          <a:prstGeom prst="down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ABAD85-0AAC-43BB-9ECA-23AD52E8928C}"/>
              </a:ext>
            </a:extLst>
          </p:cNvPr>
          <p:cNvSpPr txBox="1"/>
          <p:nvPr/>
        </p:nvSpPr>
        <p:spPr>
          <a:xfrm>
            <a:off x="1192789" y="1780805"/>
            <a:ext cx="115762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mperatur</a:t>
            </a:r>
            <a:endParaRPr kumimoji="0" lang="da-DK" sz="1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3FD503-6D80-4F0F-93D1-DBBBF1565665}"/>
              </a:ext>
            </a:extLst>
          </p:cNvPr>
          <p:cNvSpPr txBox="1"/>
          <p:nvPr/>
        </p:nvSpPr>
        <p:spPr>
          <a:xfrm>
            <a:off x="2919690" y="1800804"/>
            <a:ext cx="280025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alkudfældningspotentialet</a:t>
            </a:r>
            <a:endParaRPr kumimoji="0" lang="da-DK" sz="1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19FE604-6B10-4A75-B703-001778F5BCFA}"/>
              </a:ext>
            </a:extLst>
          </p:cNvPr>
          <p:cNvCxnSpPr>
            <a:cxnSpLocks/>
          </p:cNvCxnSpPr>
          <p:nvPr/>
        </p:nvCxnSpPr>
        <p:spPr>
          <a:xfrm flipV="1">
            <a:off x="5930537" y="2057804"/>
            <a:ext cx="2211977" cy="772483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174D4E0-81D3-49CB-A677-967EF2F6E83B}"/>
              </a:ext>
            </a:extLst>
          </p:cNvPr>
          <p:cNvCxnSpPr>
            <a:cxnSpLocks/>
          </p:cNvCxnSpPr>
          <p:nvPr/>
        </p:nvCxnSpPr>
        <p:spPr>
          <a:xfrm flipV="1">
            <a:off x="5930536" y="3829999"/>
            <a:ext cx="2211978" cy="1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D7745CA-4B2A-4A22-83A1-DA43C5BC27E7}"/>
              </a:ext>
            </a:extLst>
          </p:cNvPr>
          <p:cNvCxnSpPr>
            <a:cxnSpLocks/>
          </p:cNvCxnSpPr>
          <p:nvPr/>
        </p:nvCxnSpPr>
        <p:spPr>
          <a:xfrm>
            <a:off x="5930536" y="4702629"/>
            <a:ext cx="2072641" cy="1071154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E2FD9FB-D396-4E2E-BD0D-C28DB6C55087}"/>
              </a:ext>
            </a:extLst>
          </p:cNvPr>
          <p:cNvSpPr txBox="1"/>
          <p:nvPr/>
        </p:nvSpPr>
        <p:spPr>
          <a:xfrm>
            <a:off x="8339522" y="1892513"/>
            <a:ext cx="18655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90 °C = elkedlen</a:t>
            </a:r>
            <a:endParaRPr kumimoji="0" lang="da-DK" sz="2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470F53-9B5F-4E9D-8E6C-966E52432DED}"/>
              </a:ext>
            </a:extLst>
          </p:cNvPr>
          <p:cNvSpPr txBox="1"/>
          <p:nvPr/>
        </p:nvSpPr>
        <p:spPr>
          <a:xfrm>
            <a:off x="8339521" y="3657973"/>
            <a:ext cx="323633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60 °C = varmtvandsbeholder</a:t>
            </a:r>
            <a:endParaRPr kumimoji="0" lang="da-DK" sz="2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0A1EDA-796A-4371-BB9D-FD7AE9A868B3}"/>
              </a:ext>
            </a:extLst>
          </p:cNvPr>
          <p:cNvSpPr txBox="1"/>
          <p:nvPr/>
        </p:nvSpPr>
        <p:spPr>
          <a:xfrm>
            <a:off x="8339521" y="5702737"/>
            <a:ext cx="255159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0 °C = ledningsnettet</a:t>
            </a:r>
            <a:endParaRPr kumimoji="0" lang="da-DK" sz="2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6950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66BD3-755A-454A-B87E-D0FD81816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r der et potentiale?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7A8E05-5161-4FD4-BFB8-C5C80961E8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00" y="2051961"/>
            <a:ext cx="11394450" cy="369332"/>
          </a:xfrm>
        </p:spPr>
        <p:txBody>
          <a:bodyPr/>
          <a:lstStyle/>
          <a:p>
            <a:endParaRPr lang="da-DK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DEC228F-A8A5-445B-A2B8-58163ECBC319}"/>
              </a:ext>
            </a:extLst>
          </p:cNvPr>
          <p:cNvCxnSpPr/>
          <p:nvPr/>
        </p:nvCxnSpPr>
        <p:spPr bwMode="auto">
          <a:xfrm>
            <a:off x="760472" y="4551595"/>
            <a:ext cx="10513168" cy="0"/>
          </a:xfrm>
          <a:prstGeom prst="straightConnector1">
            <a:avLst/>
          </a:prstGeom>
          <a:solidFill>
            <a:srgbClr val="E3F3F1"/>
          </a:solidFill>
          <a:ln w="76200" cap="flat" cmpd="sng" algn="ctr">
            <a:solidFill>
              <a:srgbClr val="9CC6C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Picture 6" descr="Der er ingen alternativ tekst for dette billede">
            <a:extLst>
              <a:ext uri="{FF2B5EF4-FFF2-40B4-BE49-F238E27FC236}">
                <a16:creationId xmlns:a16="http://schemas.microsoft.com/office/drawing/2014/main" id="{F4BA688C-9F22-4E8C-98DD-D7AB2C56E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496" y="2991634"/>
            <a:ext cx="1726604" cy="1294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87F1375-57FF-4A41-9BA4-35E82FEC7944}"/>
              </a:ext>
            </a:extLst>
          </p:cNvPr>
          <p:cNvSpPr txBox="1"/>
          <p:nvPr/>
        </p:nvSpPr>
        <p:spPr>
          <a:xfrm>
            <a:off x="2171887" y="4132698"/>
            <a:ext cx="8784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-8 </a:t>
            </a:r>
            <a:r>
              <a:rPr kumimoji="0" lang="da-DK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</a:rPr>
              <a:t>°</a:t>
            </a:r>
            <a:r>
              <a:rPr kumimoji="0" lang="da-DK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H</a:t>
            </a:r>
            <a:endParaRPr kumimoji="0" lang="da-DK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464B99E-9EC7-4FE3-8E8E-F29B004E9256}"/>
              </a:ext>
            </a:extLst>
          </p:cNvPr>
          <p:cNvSpPr/>
          <p:nvPr/>
        </p:nvSpPr>
        <p:spPr>
          <a:xfrm>
            <a:off x="8249304" y="4126340"/>
            <a:ext cx="16546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 - &gt;30 </a:t>
            </a:r>
            <a:r>
              <a:rPr kumimoji="0" lang="da-DK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mbria Math" panose="02040503050406030204" pitchFamily="18" charset="0"/>
              </a:rPr>
              <a:t>°</a:t>
            </a:r>
            <a:r>
              <a:rPr kumimoji="0" lang="da-DK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H</a:t>
            </a:r>
            <a:endParaRPr kumimoji="0" lang="da-DK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B76B434-B059-4311-B0B0-6A4010B4DB3C}"/>
              </a:ext>
            </a:extLst>
          </p:cNvPr>
          <p:cNvSpPr txBox="1"/>
          <p:nvPr/>
        </p:nvSpPr>
        <p:spPr>
          <a:xfrm>
            <a:off x="5237996" y="2948398"/>
            <a:ext cx="1117294" cy="30623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9900" b="1" i="0" u="none" strike="noStrike" kern="0" cap="none" spc="0" normalizeH="0" baseline="0" noProof="0" dirty="0">
                <a:ln>
                  <a:noFill/>
                </a:ln>
                <a:solidFill>
                  <a:srgbClr val="2D657D"/>
                </a:solidFill>
                <a:effectLst/>
                <a:uLnTx/>
                <a:uFillTx/>
              </a:rPr>
              <a:t>?</a:t>
            </a:r>
            <a:endParaRPr kumimoji="0" lang="da-DK" sz="1800" b="1" i="0" u="none" strike="noStrike" kern="0" cap="none" spc="0" normalizeH="0" baseline="0" noProof="0" dirty="0">
              <a:ln>
                <a:noFill/>
              </a:ln>
              <a:solidFill>
                <a:srgbClr val="2D657D"/>
              </a:solidFill>
              <a:effectLst/>
              <a:uLnTx/>
              <a:uFillTx/>
            </a:endParaRPr>
          </a:p>
        </p:txBody>
      </p:sp>
      <p:pic>
        <p:nvPicPr>
          <p:cNvPr id="36" name="Content Placeholder 16" descr="A close up of a sign&#10;&#10;Description automatically generated">
            <a:extLst>
              <a:ext uri="{FF2B5EF4-FFF2-40B4-BE49-F238E27FC236}">
                <a16:creationId xmlns:a16="http://schemas.microsoft.com/office/drawing/2014/main" id="{E2FA2BFB-6697-402A-9F2A-20A4FE4D79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400294"/>
            <a:ext cx="1743326" cy="2323093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585C177-0352-43AC-BF2D-EE9814E043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7348" y="2501142"/>
            <a:ext cx="2362074" cy="132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465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6C947D88-6386-4808-B359-F457C18CC1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E0FA1A-5E22-4DCA-9100-FE0E9A2C0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EE21A08-817C-4889-9608-2CD83DA37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91F74EF-3E0E-4247-BE19-35B8677DFF07}"/>
              </a:ext>
            </a:extLst>
          </p:cNvPr>
          <p:cNvCxnSpPr/>
          <p:nvPr/>
        </p:nvCxnSpPr>
        <p:spPr bwMode="auto">
          <a:xfrm>
            <a:off x="839416" y="3031576"/>
            <a:ext cx="10513168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8E7CEEC-5335-4859-8422-E89D222F6930}"/>
              </a:ext>
            </a:extLst>
          </p:cNvPr>
          <p:cNvSpPr txBox="1"/>
          <p:nvPr/>
        </p:nvSpPr>
        <p:spPr>
          <a:xfrm>
            <a:off x="734913" y="2612577"/>
            <a:ext cx="924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CPP</a:t>
            </a:r>
            <a:r>
              <a:rPr kumimoji="0" lang="da-DK" sz="18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9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EEF9AB7-BD6C-4455-97FD-57087550B12E}"/>
              </a:ext>
            </a:extLst>
          </p:cNvPr>
          <p:cNvCxnSpPr>
            <a:cxnSpLocks/>
          </p:cNvCxnSpPr>
          <p:nvPr/>
        </p:nvCxnSpPr>
        <p:spPr>
          <a:xfrm flipH="1">
            <a:off x="4419208" y="2693461"/>
            <a:ext cx="1" cy="7498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46C2659-0033-43CE-A636-BA05EA51A10B}"/>
              </a:ext>
            </a:extLst>
          </p:cNvPr>
          <p:cNvSpPr txBox="1"/>
          <p:nvPr/>
        </p:nvSpPr>
        <p:spPr>
          <a:xfrm>
            <a:off x="3816318" y="3451218"/>
            <a:ext cx="1205779" cy="338554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,6 mmol/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852867-6390-44DA-A7DD-CACDC3C37635}"/>
              </a:ext>
            </a:extLst>
          </p:cNvPr>
          <p:cNvCxnSpPr>
            <a:cxnSpLocks/>
          </p:cNvCxnSpPr>
          <p:nvPr/>
        </p:nvCxnSpPr>
        <p:spPr>
          <a:xfrm flipH="1">
            <a:off x="7544458" y="2693461"/>
            <a:ext cx="1" cy="7498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3640835-858A-4EFB-8994-BF1891048A0D}"/>
              </a:ext>
            </a:extLst>
          </p:cNvPr>
          <p:cNvSpPr txBox="1"/>
          <p:nvPr/>
        </p:nvSpPr>
        <p:spPr>
          <a:xfrm>
            <a:off x="6941568" y="3451218"/>
            <a:ext cx="1205779" cy="338554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,2 mmol/L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6BB1048-D4B2-45AD-8E31-D45FDBE3CEE8}"/>
              </a:ext>
            </a:extLst>
          </p:cNvPr>
          <p:cNvSpPr/>
          <p:nvPr/>
        </p:nvSpPr>
        <p:spPr>
          <a:xfrm>
            <a:off x="6522721" y="1687040"/>
            <a:ext cx="4720042" cy="8787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andet er meget kalkfældend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4868846-E4FF-4709-A956-8CAD9FB71CF3}"/>
              </a:ext>
            </a:extLst>
          </p:cNvPr>
          <p:cNvSpPr/>
          <p:nvPr/>
        </p:nvSpPr>
        <p:spPr>
          <a:xfrm>
            <a:off x="641468" y="1684184"/>
            <a:ext cx="4720042" cy="8787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andet er ikke specielt kalkfældend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255A080-BADB-4CC9-BCB9-1EC852D698CA}"/>
              </a:ext>
            </a:extLst>
          </p:cNvPr>
          <p:cNvCxnSpPr>
            <a:cxnSpLocks/>
          </p:cNvCxnSpPr>
          <p:nvPr/>
        </p:nvCxnSpPr>
        <p:spPr>
          <a:xfrm flipV="1">
            <a:off x="6338680" y="3081244"/>
            <a:ext cx="52368" cy="1211308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7AFD33D-0723-44BE-BDA6-4C1FA3FE1939}"/>
              </a:ext>
            </a:extLst>
          </p:cNvPr>
          <p:cNvCxnSpPr>
            <a:cxnSpLocks/>
          </p:cNvCxnSpPr>
          <p:nvPr/>
        </p:nvCxnSpPr>
        <p:spPr>
          <a:xfrm flipV="1">
            <a:off x="7999001" y="3081244"/>
            <a:ext cx="567193" cy="1211308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le 23">
            <a:extLst>
              <a:ext uri="{FF2B5EF4-FFF2-40B4-BE49-F238E27FC236}">
                <a16:creationId xmlns:a16="http://schemas.microsoft.com/office/drawing/2014/main" id="{1008E27E-D853-443C-AB7F-125B32121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7205166"/>
              </p:ext>
            </p:extLst>
          </p:nvPr>
        </p:nvGraphicFramePr>
        <p:xfrm>
          <a:off x="3683107" y="4323563"/>
          <a:ext cx="4825785" cy="2010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1931">
                  <a:extLst>
                    <a:ext uri="{9D8B030D-6E8A-4147-A177-3AD203B41FA5}">
                      <a16:colId xmlns:a16="http://schemas.microsoft.com/office/drawing/2014/main" val="3046249154"/>
                    </a:ext>
                  </a:extLst>
                </a:gridCol>
                <a:gridCol w="1546698">
                  <a:extLst>
                    <a:ext uri="{9D8B030D-6E8A-4147-A177-3AD203B41FA5}">
                      <a16:colId xmlns:a16="http://schemas.microsoft.com/office/drawing/2014/main" val="2059729298"/>
                    </a:ext>
                  </a:extLst>
                </a:gridCol>
                <a:gridCol w="1427156">
                  <a:extLst>
                    <a:ext uri="{9D8B030D-6E8A-4147-A177-3AD203B41FA5}">
                      <a16:colId xmlns:a16="http://schemas.microsoft.com/office/drawing/2014/main" val="518886848"/>
                    </a:ext>
                  </a:extLst>
                </a:gridCol>
              </a:tblGrid>
              <a:tr h="353525">
                <a:tc>
                  <a:txBody>
                    <a:bodyPr/>
                    <a:lstStyle/>
                    <a:p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1"/>
                          </a:solidFill>
                        </a:rPr>
                        <a:t>Vandtyp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1"/>
                          </a:solidFill>
                        </a:rPr>
                        <a:t>Vandtyp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921363"/>
                  </a:ext>
                </a:extLst>
              </a:tr>
              <a:tr h="353525">
                <a:tc>
                  <a:txBody>
                    <a:bodyPr/>
                    <a:lstStyle/>
                    <a:p>
                      <a:r>
                        <a:rPr lang="da-DK" sz="1600" dirty="0"/>
                        <a:t>Calc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91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90 mg/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246834"/>
                  </a:ext>
                </a:extLst>
              </a:tr>
              <a:tr h="353525">
                <a:tc>
                  <a:txBody>
                    <a:bodyPr/>
                    <a:lstStyle/>
                    <a:p>
                      <a:r>
                        <a:rPr lang="da-DK" sz="1600" dirty="0"/>
                        <a:t>Magnes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0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5 mg/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1348577"/>
                  </a:ext>
                </a:extLst>
              </a:tr>
              <a:tr h="353525">
                <a:tc>
                  <a:txBody>
                    <a:bodyPr/>
                    <a:lstStyle/>
                    <a:p>
                      <a:r>
                        <a:rPr lang="da-DK" sz="1600" dirty="0"/>
                        <a:t>Hårdh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5 °</a:t>
                      </a:r>
                      <a:r>
                        <a:rPr lang="da-DK" sz="1600" dirty="0" err="1"/>
                        <a:t>dH</a:t>
                      </a:r>
                      <a:endParaRPr lang="da-DK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6 °</a:t>
                      </a:r>
                      <a:r>
                        <a:rPr lang="da-DK" sz="1600" dirty="0" err="1"/>
                        <a:t>dH</a:t>
                      </a:r>
                      <a:endParaRPr lang="da-DK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748584"/>
                  </a:ext>
                </a:extLst>
              </a:tr>
              <a:tr h="596846">
                <a:tc>
                  <a:txBody>
                    <a:bodyPr/>
                    <a:lstStyle/>
                    <a:p>
                      <a:r>
                        <a:rPr lang="da-DK" sz="1600" dirty="0" err="1"/>
                        <a:t>Alkalinitet</a:t>
                      </a:r>
                      <a:r>
                        <a:rPr lang="da-DK" sz="1600" dirty="0"/>
                        <a:t> (HCO</a:t>
                      </a:r>
                      <a:r>
                        <a:rPr lang="da-DK" sz="1600" baseline="-25000" dirty="0"/>
                        <a:t>3</a:t>
                      </a:r>
                      <a:r>
                        <a:rPr lang="da-DK" sz="1600" baseline="30000" dirty="0"/>
                        <a:t>-</a:t>
                      </a:r>
                      <a:r>
                        <a:rPr lang="da-DK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b="1" dirty="0"/>
                        <a:t>261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b="1" dirty="0"/>
                        <a:t>360 mg/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4265678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3E456D71-817B-4E8F-91D5-0A7411C741DF}"/>
              </a:ext>
            </a:extLst>
          </p:cNvPr>
          <p:cNvSpPr txBox="1"/>
          <p:nvPr/>
        </p:nvSpPr>
        <p:spPr>
          <a:xfrm>
            <a:off x="5884137" y="2639368"/>
            <a:ext cx="1205779" cy="338554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,0 mmol/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F6AB2B-C82B-4DB4-BA55-B25C8BCBF06C}"/>
              </a:ext>
            </a:extLst>
          </p:cNvPr>
          <p:cNvSpPr txBox="1"/>
          <p:nvPr/>
        </p:nvSpPr>
        <p:spPr>
          <a:xfrm>
            <a:off x="8162821" y="2639368"/>
            <a:ext cx="1205779" cy="338554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,4 mmol/L</a:t>
            </a:r>
          </a:p>
        </p:txBody>
      </p:sp>
    </p:spTree>
    <p:extLst>
      <p:ext uri="{BB962C8B-B14F-4D97-AF65-F5344CB8AC3E}">
        <p14:creationId xmlns:p14="http://schemas.microsoft.com/office/powerpoint/2010/main" val="1692293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6" grpId="0" animBg="1"/>
      <p:bldP spid="2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97FBF-4FF7-4BF2-8EF3-ED3955313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CPP og teknologival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9A45D12-2A6C-434A-88B2-885298E889B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F00DC8-69EC-4C75-A4AB-8EF067274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9</a:t>
            </a:fld>
            <a:endParaRPr lang="en-GB" dirty="0"/>
          </a:p>
        </p:txBody>
      </p:sp>
      <p:graphicFrame>
        <p:nvGraphicFramePr>
          <p:cNvPr id="6" name="Table 23">
            <a:extLst>
              <a:ext uri="{FF2B5EF4-FFF2-40B4-BE49-F238E27FC236}">
                <a16:creationId xmlns:a16="http://schemas.microsoft.com/office/drawing/2014/main" id="{BDDC1A7B-300E-489F-B458-E843A85CE9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13475"/>
              </p:ext>
            </p:extLst>
          </p:nvPr>
        </p:nvGraphicFramePr>
        <p:xfrm>
          <a:off x="995494" y="1805488"/>
          <a:ext cx="4825785" cy="2010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1931">
                  <a:extLst>
                    <a:ext uri="{9D8B030D-6E8A-4147-A177-3AD203B41FA5}">
                      <a16:colId xmlns:a16="http://schemas.microsoft.com/office/drawing/2014/main" val="3046249154"/>
                    </a:ext>
                  </a:extLst>
                </a:gridCol>
                <a:gridCol w="1546698">
                  <a:extLst>
                    <a:ext uri="{9D8B030D-6E8A-4147-A177-3AD203B41FA5}">
                      <a16:colId xmlns:a16="http://schemas.microsoft.com/office/drawing/2014/main" val="2059729298"/>
                    </a:ext>
                  </a:extLst>
                </a:gridCol>
                <a:gridCol w="1427156">
                  <a:extLst>
                    <a:ext uri="{9D8B030D-6E8A-4147-A177-3AD203B41FA5}">
                      <a16:colId xmlns:a16="http://schemas.microsoft.com/office/drawing/2014/main" val="518886848"/>
                    </a:ext>
                  </a:extLst>
                </a:gridCol>
              </a:tblGrid>
              <a:tr h="353525">
                <a:tc>
                  <a:txBody>
                    <a:bodyPr/>
                    <a:lstStyle/>
                    <a:p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1"/>
                          </a:solidFill>
                        </a:rPr>
                        <a:t>Vandtyp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1"/>
                          </a:solidFill>
                        </a:rPr>
                        <a:t>Vandtyp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921363"/>
                  </a:ext>
                </a:extLst>
              </a:tr>
              <a:tr h="353525">
                <a:tc>
                  <a:txBody>
                    <a:bodyPr/>
                    <a:lstStyle/>
                    <a:p>
                      <a:r>
                        <a:rPr lang="da-DK" sz="1600" dirty="0"/>
                        <a:t>Calc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91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90 mg/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246834"/>
                  </a:ext>
                </a:extLst>
              </a:tr>
              <a:tr h="353525">
                <a:tc>
                  <a:txBody>
                    <a:bodyPr/>
                    <a:lstStyle/>
                    <a:p>
                      <a:r>
                        <a:rPr lang="da-DK" sz="1600" dirty="0"/>
                        <a:t>Magnes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0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5 mg/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1348577"/>
                  </a:ext>
                </a:extLst>
              </a:tr>
              <a:tr h="353525">
                <a:tc>
                  <a:txBody>
                    <a:bodyPr/>
                    <a:lstStyle/>
                    <a:p>
                      <a:r>
                        <a:rPr lang="da-DK" sz="1600" dirty="0"/>
                        <a:t>Hårdh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5 °</a:t>
                      </a:r>
                      <a:r>
                        <a:rPr lang="da-DK" sz="1600" dirty="0" err="1"/>
                        <a:t>dH</a:t>
                      </a:r>
                      <a:endParaRPr lang="da-DK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16 °</a:t>
                      </a:r>
                      <a:r>
                        <a:rPr lang="da-DK" sz="1600" dirty="0" err="1"/>
                        <a:t>dH</a:t>
                      </a:r>
                      <a:endParaRPr lang="da-DK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748584"/>
                  </a:ext>
                </a:extLst>
              </a:tr>
              <a:tr h="596846">
                <a:tc>
                  <a:txBody>
                    <a:bodyPr/>
                    <a:lstStyle/>
                    <a:p>
                      <a:r>
                        <a:rPr lang="da-DK" sz="1600" dirty="0" err="1"/>
                        <a:t>Alkalinitet</a:t>
                      </a:r>
                      <a:r>
                        <a:rPr lang="da-DK" sz="1600" dirty="0"/>
                        <a:t> (HCO</a:t>
                      </a:r>
                      <a:r>
                        <a:rPr lang="da-DK" sz="1600" baseline="-25000" dirty="0"/>
                        <a:t>3</a:t>
                      </a:r>
                      <a:r>
                        <a:rPr lang="da-DK" sz="1600" baseline="30000" dirty="0"/>
                        <a:t>-</a:t>
                      </a:r>
                      <a:r>
                        <a:rPr lang="da-DK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261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/>
                        <a:t>360 mg/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4265678"/>
                  </a:ext>
                </a:extLst>
              </a:tr>
            </a:tbl>
          </a:graphicData>
        </a:graphic>
      </p:graphicFrame>
      <p:sp>
        <p:nvSpPr>
          <p:cNvPr id="10" name="Arrow: Down 9">
            <a:extLst>
              <a:ext uri="{FF2B5EF4-FFF2-40B4-BE49-F238E27FC236}">
                <a16:creationId xmlns:a16="http://schemas.microsoft.com/office/drawing/2014/main" id="{4A1578F8-EFE9-49F1-A5D7-8E9B83FE24A4}"/>
              </a:ext>
            </a:extLst>
          </p:cNvPr>
          <p:cNvSpPr/>
          <p:nvPr/>
        </p:nvSpPr>
        <p:spPr>
          <a:xfrm flipV="1">
            <a:off x="6370723" y="323488"/>
            <a:ext cx="931818" cy="5877287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2696F6-4F25-46EC-9256-D71F684674C4}"/>
              </a:ext>
            </a:extLst>
          </p:cNvPr>
          <p:cNvSpPr txBox="1"/>
          <p:nvPr/>
        </p:nvSpPr>
        <p:spPr>
          <a:xfrm>
            <a:off x="7176501" y="2079079"/>
            <a:ext cx="36104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øj HCO</a:t>
            </a:r>
            <a:r>
              <a:rPr kumimoji="0" lang="da-DK" sz="2800" b="1" i="0" u="none" strike="noStrike" kern="1200" cap="none" spc="0" normalizeH="0" baseline="-25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da-DK" sz="2800" b="1" i="0" u="none" strike="noStrike" kern="1200" cap="none" spc="0" normalizeH="0" baseline="30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-</a:t>
            </a: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eduk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0CAE0C-6055-407F-98C4-41D1E7DE4006}"/>
              </a:ext>
            </a:extLst>
          </p:cNvPr>
          <p:cNvSpPr txBox="1"/>
          <p:nvPr/>
        </p:nvSpPr>
        <p:spPr>
          <a:xfrm>
            <a:off x="7132723" y="5677555"/>
            <a:ext cx="40063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gen HCO</a:t>
            </a:r>
            <a:r>
              <a:rPr kumimoji="0" lang="da-DK" sz="2800" b="1" i="0" u="none" strike="noStrike" kern="1200" cap="none" spc="0" normalizeH="0" baseline="-25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da-DK" sz="2800" b="1" i="0" u="none" strike="noStrike" kern="1200" cap="none" spc="0" normalizeH="0" baseline="30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-</a:t>
            </a: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edukt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0A98D8-B95B-41C2-9832-13AEE51AD96C}"/>
              </a:ext>
            </a:extLst>
          </p:cNvPr>
          <p:cNvCxnSpPr/>
          <p:nvPr/>
        </p:nvCxnSpPr>
        <p:spPr>
          <a:xfrm>
            <a:off x="6858836" y="2591566"/>
            <a:ext cx="3016069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236C5-D498-4E79-B9B8-7C53F08515F3}"/>
              </a:ext>
            </a:extLst>
          </p:cNvPr>
          <p:cNvCxnSpPr/>
          <p:nvPr/>
        </p:nvCxnSpPr>
        <p:spPr>
          <a:xfrm>
            <a:off x="6819197" y="4273899"/>
            <a:ext cx="3016069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3E382E4-244B-46BC-8944-1D563AC61994}"/>
              </a:ext>
            </a:extLst>
          </p:cNvPr>
          <p:cNvSpPr txBox="1"/>
          <p:nvPr/>
        </p:nvSpPr>
        <p:spPr>
          <a:xfrm>
            <a:off x="7146284" y="3732482"/>
            <a:ext cx="29403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CO</a:t>
            </a:r>
            <a:r>
              <a:rPr kumimoji="0" lang="da-DK" sz="2800" b="1" i="0" u="none" strike="noStrike" kern="1200" cap="none" spc="0" normalizeH="0" baseline="-25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da-DK" sz="2800" b="1" i="0" u="none" strike="noStrike" kern="1200" cap="none" spc="0" normalizeH="0" baseline="30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-</a:t>
            </a: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eduk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334D9D-8EC8-4D3F-8024-2676BC3A1ABA}"/>
              </a:ext>
            </a:extLst>
          </p:cNvPr>
          <p:cNvSpPr txBox="1"/>
          <p:nvPr/>
        </p:nvSpPr>
        <p:spPr>
          <a:xfrm>
            <a:off x="7477429" y="1538141"/>
            <a:ext cx="8114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>
                <a:solidFill>
                  <a:schemeClr val="bg1"/>
                </a:solidFill>
              </a:rPr>
              <a:t>CARIX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0B54B2-3BCE-4EF9-A702-1EDD9EEC7E75}"/>
              </a:ext>
            </a:extLst>
          </p:cNvPr>
          <p:cNvSpPr txBox="1"/>
          <p:nvPr/>
        </p:nvSpPr>
        <p:spPr>
          <a:xfrm>
            <a:off x="8730178" y="1730741"/>
            <a:ext cx="5691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PA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B9B08F-5EDD-43D9-A65F-D678BE10021D}"/>
              </a:ext>
            </a:extLst>
          </p:cNvPr>
          <p:cNvSpPr txBox="1"/>
          <p:nvPr/>
        </p:nvSpPr>
        <p:spPr>
          <a:xfrm>
            <a:off x="9014775" y="3104008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Membran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8253347-E7E5-4D6A-9EB2-67F519B31DFC}"/>
              </a:ext>
            </a:extLst>
          </p:cNvPr>
          <p:cNvSpPr txBox="1"/>
          <p:nvPr/>
        </p:nvSpPr>
        <p:spPr>
          <a:xfrm>
            <a:off x="7146284" y="3319062"/>
            <a:ext cx="1873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Pelletblødgø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A5EFBB-1945-4CE1-BA59-18BF3E516343}"/>
              </a:ext>
            </a:extLst>
          </p:cNvPr>
          <p:cNvSpPr txBox="1"/>
          <p:nvPr/>
        </p:nvSpPr>
        <p:spPr>
          <a:xfrm>
            <a:off x="7971542" y="5199228"/>
            <a:ext cx="12898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Ionbytning</a:t>
            </a:r>
          </a:p>
        </p:txBody>
      </p:sp>
    </p:spTree>
    <p:extLst>
      <p:ext uri="{BB962C8B-B14F-4D97-AF65-F5344CB8AC3E}">
        <p14:creationId xmlns:p14="http://schemas.microsoft.com/office/powerpoint/2010/main" val="659864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2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IRIT">
  <a:themeElements>
    <a:clrScheme name="SPIRIT">
      <a:dk1>
        <a:srgbClr val="000000"/>
      </a:dk1>
      <a:lt1>
        <a:srgbClr val="FFFFFF"/>
      </a:lt1>
      <a:dk2>
        <a:srgbClr val="004C64"/>
      </a:dk2>
      <a:lt2>
        <a:srgbClr val="E3F3F1"/>
      </a:lt2>
      <a:accent1>
        <a:srgbClr val="E3F3F1"/>
      </a:accent1>
      <a:accent2>
        <a:srgbClr val="C9E9E6"/>
      </a:accent2>
      <a:accent3>
        <a:srgbClr val="9CC6CA"/>
      </a:accent3>
      <a:accent4>
        <a:srgbClr val="2D657D"/>
      </a:accent4>
      <a:accent5>
        <a:srgbClr val="004C64"/>
      </a:accent5>
      <a:accent6>
        <a:srgbClr val="58C5C7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IRIT" id="{D5BE835B-F0EC-4ABC-8377-25CF46520760}" vid="{47DE0B42-59BD-4573-AC26-185581AE4FAC}"/>
    </a:ext>
  </a:extLst>
</a:theme>
</file>

<file path=ppt/theme/theme2.xml><?xml version="1.0" encoding="utf-8"?>
<a:theme xmlns:a="http://schemas.openxmlformats.org/drawingml/2006/main" name="1_SPIRIT">
  <a:themeElements>
    <a:clrScheme name="SPIRIT">
      <a:dk1>
        <a:srgbClr val="000000"/>
      </a:dk1>
      <a:lt1>
        <a:srgbClr val="FFFFFF"/>
      </a:lt1>
      <a:dk2>
        <a:srgbClr val="004C64"/>
      </a:dk2>
      <a:lt2>
        <a:srgbClr val="E3F3F1"/>
      </a:lt2>
      <a:accent1>
        <a:srgbClr val="E3F3F1"/>
      </a:accent1>
      <a:accent2>
        <a:srgbClr val="C9E9E6"/>
      </a:accent2>
      <a:accent3>
        <a:srgbClr val="9CC6CA"/>
      </a:accent3>
      <a:accent4>
        <a:srgbClr val="2D657D"/>
      </a:accent4>
      <a:accent5>
        <a:srgbClr val="004C64"/>
      </a:accent5>
      <a:accent6>
        <a:srgbClr val="58C5C7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IRIT" id="{284176BB-F40A-468B-B3B8-AF2F6463CF8E}" vid="{63397484-8403-49FA-97E9-CE45D68EB456}"/>
    </a:ext>
  </a:extLst>
</a:theme>
</file>

<file path=ppt/theme/theme3.xml><?xml version="1.0" encoding="utf-8"?>
<a:theme xmlns:a="http://schemas.openxmlformats.org/drawingml/2006/main" name="2_SPIRIT">
  <a:themeElements>
    <a:clrScheme name="SPIRIT">
      <a:dk1>
        <a:srgbClr val="000000"/>
      </a:dk1>
      <a:lt1>
        <a:srgbClr val="FFFFFF"/>
      </a:lt1>
      <a:dk2>
        <a:srgbClr val="004C64"/>
      </a:dk2>
      <a:lt2>
        <a:srgbClr val="E3F3F1"/>
      </a:lt2>
      <a:accent1>
        <a:srgbClr val="E3F3F1"/>
      </a:accent1>
      <a:accent2>
        <a:srgbClr val="C9E9E6"/>
      </a:accent2>
      <a:accent3>
        <a:srgbClr val="9CC6CA"/>
      </a:accent3>
      <a:accent4>
        <a:srgbClr val="2D657D"/>
      </a:accent4>
      <a:accent5>
        <a:srgbClr val="004C64"/>
      </a:accent5>
      <a:accent6>
        <a:srgbClr val="58C5C7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IRIT" id="{284176BB-F40A-468B-B3B8-AF2F6463CF8E}" vid="{63397484-8403-49FA-97E9-CE45D68EB45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nva_Emneord xmlns="7e2b2031-807c-4b94-a17b-b1eb2b592cef" xsi:nil="true"/>
    <Danva_Dokumenttype xmlns="7e2b2031-807c-4b94-a17b-b1eb2b592ce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anva documents" ma:contentTypeID="0x010100228831CEB8722F4E927EEBE9C5346737001DC43371583A1842B56A53C262B66E07" ma:contentTypeVersion="6" ma:contentTypeDescription="Create a new document." ma:contentTypeScope="" ma:versionID="5d56eded5a9f2ea66e34c5fff8fcf652">
  <xsd:schema xmlns:xsd="http://www.w3.org/2001/XMLSchema" xmlns:xs="http://www.w3.org/2001/XMLSchema" xmlns:p="http://schemas.microsoft.com/office/2006/metadata/properties" xmlns:ns2="7e2b2031-807c-4b94-a17b-b1eb2b592cef" xmlns:ns3="b0920668-2583-4010-9e58-b67732f69a7f" targetNamespace="http://schemas.microsoft.com/office/2006/metadata/properties" ma:root="true" ma:fieldsID="97260a2feb3b1d7c7efc50f04f483b6d" ns2:_="" ns3:_="">
    <xsd:import namespace="7e2b2031-807c-4b94-a17b-b1eb2b592cef"/>
    <xsd:import namespace="b0920668-2583-4010-9e58-b67732f69a7f"/>
    <xsd:element name="properties">
      <xsd:complexType>
        <xsd:sequence>
          <xsd:element name="documentManagement">
            <xsd:complexType>
              <xsd:all>
                <xsd:element ref="ns2:Danva_Emneord" minOccurs="0"/>
                <xsd:element ref="ns2:Danva_Dokumenttyp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2b2031-807c-4b94-a17b-b1eb2b592cef" elementFormDefault="qualified">
    <xsd:import namespace="http://schemas.microsoft.com/office/2006/documentManagement/types"/>
    <xsd:import namespace="http://schemas.microsoft.com/office/infopath/2007/PartnerControls"/>
    <xsd:element name="Danva_Emneord" ma:index="8" nillable="true" ma:displayName="Danva Emneord" ma:default="" ma:internalName="Danva_x0020_Emneord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rundvand"/>
                    <xsd:enumeration value="Drikkevand"/>
                    <xsd:enumeration value="Spildevand"/>
                    <xsd:enumeration value="Afløb"/>
                    <xsd:enumeration value="Lovgivning"/>
                    <xsd:enumeration value="Innovation"/>
                    <xsd:enumeration value="Internationalt samarbejde"/>
                    <xsd:enumeration value="Klima"/>
                    <xsd:enumeration value="Klimatilpasning"/>
                    <xsd:enumeration value="Samarbejdspartnere"/>
                    <xsd:enumeration value="Administration"/>
                  </xsd:restriction>
                </xsd:simpleType>
              </xsd:element>
            </xsd:sequence>
          </xsd:extension>
        </xsd:complexContent>
      </xsd:complexType>
    </xsd:element>
    <xsd:element name="Danva_Dokumenttype" ma:index="9" nillable="true" ma:displayName="Dokumenttype" ma:default="" ma:format="Dropdown" ma:internalName="Danva_x0020_Dokumenttype">
      <xsd:simpleType>
        <xsd:restriction base="dms:Choice">
          <xsd:enumeration value="ATR skema – budgetændring"/>
          <xsd:enumeration value="ATR skema"/>
          <xsd:enumeration value="Bilag"/>
          <xsd:enumeration value="Brev/E-mail"/>
          <xsd:enumeration value="Dagsorden/referat"/>
          <xsd:enumeration value="Drøftelse ved møder"/>
          <xsd:enumeration value="DANVA Flyer"/>
          <xsd:enumeration value="Indstilling til beslutning"/>
          <xsd:enumeration value="Memo"/>
          <xsd:enumeration value="Mundtlig orientering"/>
          <xsd:enumeration value="Notat"/>
          <xsd:enumeration value="Procedurebeskrivelse"/>
          <xsd:enumeration value="Rapport"/>
          <xsd:enumeration value="Pjecer"/>
          <xsd:enumeration value="Foldere"/>
          <xsd:enumeration value="Artikel"/>
          <xsd:enumeration value="Pressemeddelelse"/>
          <xsd:enumeration value="Skriftlig orientering"/>
          <xsd:enumeration value="Vejledning"/>
          <xsd:enumeration value="Kontrakter"/>
          <xsd:enumeration value="PowerPoint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920668-2583-4010-9e58-b67732f69a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ab2600de-030e-40a3-a341-c72395049305" ContentTypeId="0x010100DCD90FCC66DA8F4C882C689D6817D41B" PreviousValue="false"/>
</file>

<file path=customXml/itemProps1.xml><?xml version="1.0" encoding="utf-8"?>
<ds:datastoreItem xmlns:ds="http://schemas.openxmlformats.org/officeDocument/2006/customXml" ds:itemID="{EF2D9010-5B9A-42E9-82DA-7047A8B26637}">
  <ds:schemaRefs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8de29bf6-17fa-407c-a8e0-39214a782f8a"/>
    <ds:schemaRef ds:uri="3ff2e1a5-d34d-4447-9aa1-aa6201126706"/>
    <ds:schemaRef ds:uri="36389baf-d775-4142-9ba9-987d54fbb0d5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C8B92E9-4A0C-4A0E-99CF-605E3C9D88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E7209B-0F17-4453-9215-A54801C6D97D}"/>
</file>

<file path=customXml/itemProps4.xml><?xml version="1.0" encoding="utf-8"?>
<ds:datastoreItem xmlns:ds="http://schemas.openxmlformats.org/officeDocument/2006/customXml" ds:itemID="{FD108CBF-39CE-4239-8767-6290521971EC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9B862181-6E2D-40C1-AB3C-72AA2418A46E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PIRIT</Template>
  <TotalTime>0</TotalTime>
  <Words>506</Words>
  <Application>Microsoft Office PowerPoint</Application>
  <PresentationFormat>Widescreen</PresentationFormat>
  <Paragraphs>172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1" baseType="lpstr">
      <vt:lpstr>Arial</vt:lpstr>
      <vt:lpstr>Calibri</vt:lpstr>
      <vt:lpstr>Cambria Math</vt:lpstr>
      <vt:lpstr>Gill Sans</vt:lpstr>
      <vt:lpstr>Lato</vt:lpstr>
      <vt:lpstr>Lato Regular</vt:lpstr>
      <vt:lpstr>Palatino Linotype</vt:lpstr>
      <vt:lpstr>Segoe UI</vt:lpstr>
      <vt:lpstr>Segoe UI Black</vt:lpstr>
      <vt:lpstr>Segoe UI Light</vt:lpstr>
      <vt:lpstr>Verdana</vt:lpstr>
      <vt:lpstr>Verdana Pro Cond Light</vt:lpstr>
      <vt:lpstr>SPIRIT</vt:lpstr>
      <vt:lpstr>1_SPIRIT</vt:lpstr>
      <vt:lpstr>2_SPIRIT</vt:lpstr>
      <vt:lpstr>think-cell Slide</vt:lpstr>
      <vt:lpstr>PowerPoint Presentation</vt:lpstr>
      <vt:lpstr>Forskellig påvirkning af vandkvalitet</vt:lpstr>
      <vt:lpstr>PowerPoint Presentation</vt:lpstr>
      <vt:lpstr>Råvandsmængde og -kvalitet</vt:lpstr>
      <vt:lpstr>Kalkudfældningspotentialet</vt:lpstr>
      <vt:lpstr>Kalkudfældning afhænger af temperatur</vt:lpstr>
      <vt:lpstr>Er der et potentiale? </vt:lpstr>
      <vt:lpstr>PowerPoint Presentation</vt:lpstr>
      <vt:lpstr>CCPP og teknologivalg</vt:lpstr>
      <vt:lpstr>Kalkudfældningspotentialet siger også noget om korrosion</vt:lpstr>
      <vt:lpstr>Hvor langt ned skal man blødgøre?</vt:lpstr>
      <vt:lpstr>Er vandets hårdhed ligegyldig???</vt:lpstr>
      <vt:lpstr>PowerPoint Presentation</vt:lpstr>
      <vt:lpstr>Opsummering </vt:lpstr>
      <vt:lpstr>Tak for opmærksomhede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milla Tang (CTA)</dc:creator>
  <cp:lastModifiedBy>Camilla Tang (CTA)</cp:lastModifiedBy>
  <cp:revision>2</cp:revision>
  <dcterms:created xsi:type="dcterms:W3CDTF">2021-12-03T12:56:51Z</dcterms:created>
  <dcterms:modified xsi:type="dcterms:W3CDTF">2021-12-06T10:3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8831CEB8722F4E927EEBE9C5346737001DC43371583A1842B56A53C262B66E07</vt:lpwstr>
  </property>
  <property fmtid="{D5CDD505-2E9C-101B-9397-08002B2CF9AE}" pid="3" name="_dlc_DocIdItemGuid">
    <vt:lpwstr>378b0578-ac66-4221-8163-6167e347d118</vt:lpwstr>
  </property>
  <property fmtid="{D5CDD505-2E9C-101B-9397-08002B2CF9AE}" pid="4" name="NIRASScale">
    <vt:lpwstr/>
  </property>
  <property fmtid="{D5CDD505-2E9C-101B-9397-08002B2CF9AE}" pid="5" name="NIRASQAStatus">
    <vt:lpwstr/>
  </property>
  <property fmtid="{D5CDD505-2E9C-101B-9397-08002B2CF9AE}" pid="6" name="NIRASDocumentKind">
    <vt:lpwstr>15;#Presentation|6971b158-feba-49ed-a316-35dbbf67cee1</vt:lpwstr>
  </property>
  <property fmtid="{D5CDD505-2E9C-101B-9397-08002B2CF9AE}" pid="7" name="ApplyLanguageRun">
    <vt:lpwstr>true</vt:lpwstr>
  </property>
  <property fmtid="{D5CDD505-2E9C-101B-9397-08002B2CF9AE}" pid="8" name="NIRASQAGroup">
    <vt:lpwstr/>
  </property>
  <property fmtid="{D5CDD505-2E9C-101B-9397-08002B2CF9AE}" pid="9" name="Order">
    <vt:r8>40300</vt:r8>
  </property>
  <property fmtid="{D5CDD505-2E9C-101B-9397-08002B2CF9AE}" pid="10" name="xd_Signature">
    <vt:bool>false</vt:bool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</Properties>
</file>